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charts/chart6.xml" ContentType="application/vnd.openxmlformats-officedocument.drawingml.chart+xml"/>
  <Override PartName="/ppt/theme/themeOverride6.xml" ContentType="application/vnd.openxmlformats-officedocument.themeOverride+xml"/>
  <Override PartName="/ppt/tags/tag327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82" r:id="rId5"/>
  </p:sldMasterIdLst>
  <p:notesMasterIdLst>
    <p:notesMasterId r:id="rId19"/>
  </p:notesMasterIdLst>
  <p:sldIdLst>
    <p:sldId id="2147373820" r:id="rId6"/>
    <p:sldId id="2147373781" r:id="rId7"/>
    <p:sldId id="4237" r:id="rId8"/>
    <p:sldId id="2147373821" r:id="rId9"/>
    <p:sldId id="2147373822" r:id="rId10"/>
    <p:sldId id="2147373777" r:id="rId11"/>
    <p:sldId id="2147373778" r:id="rId12"/>
    <p:sldId id="2147373823" r:id="rId13"/>
    <p:sldId id="2147373824" r:id="rId14"/>
    <p:sldId id="2147373825" r:id="rId15"/>
    <p:sldId id="2147373826" r:id="rId16"/>
    <p:sldId id="2147373827" r:id="rId17"/>
    <p:sldId id="2147373819" r:id="rId18"/>
  </p:sldIdLst>
  <p:sldSz cx="12192000" cy="6858000"/>
  <p:notesSz cx="6797675" cy="9872663"/>
  <p:custDataLst>
    <p:tags r:id="rId20"/>
  </p:custDataLst>
  <p:defaultTextStyle>
    <a:defPPr>
      <a:defRPr lang="pl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3B09DED5-325B-4BEF-845A-0039775AED7F}">
          <p14:sldIdLst>
            <p14:sldId id="2147373820"/>
            <p14:sldId id="2147373781"/>
            <p14:sldId id="4237"/>
            <p14:sldId id="2147373821"/>
            <p14:sldId id="2147373822"/>
            <p14:sldId id="2147373777"/>
            <p14:sldId id="2147373778"/>
            <p14:sldId id="2147373823"/>
            <p14:sldId id="2147373824"/>
            <p14:sldId id="2147373825"/>
            <p14:sldId id="2147373826"/>
            <p14:sldId id="2147373827"/>
            <p14:sldId id="2147373819"/>
          </p14:sldIdLst>
        </p14:section>
        <p14:section name="Default Section" id="{B8D70274-14A2-4ED5-8CF5-9B92D8E5A80A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iraudet Philippe CHBS" initials="GPC" lastIdx="1" clrIdx="0">
    <p:extLst>
      <p:ext uri="{19B8F6BF-5375-455C-9EA6-DF929625EA0E}">
        <p15:presenceInfo xmlns:p15="http://schemas.microsoft.com/office/powerpoint/2012/main" userId="S::philippe.giraudet@syngenta.com::82c3231f-357f-4315-84e7-9d523259de01" providerId="AD"/>
      </p:ext>
    </p:extLst>
  </p:cmAuthor>
  <p:cmAuthor id="2" name="Maligin Vasiliy RUMO" initials="MVR" lastIdx="1" clrIdx="1">
    <p:extLst>
      <p:ext uri="{19B8F6BF-5375-455C-9EA6-DF929625EA0E}">
        <p15:presenceInfo xmlns:p15="http://schemas.microsoft.com/office/powerpoint/2012/main" userId="S::Vasiliy.Maligin@syngenta.com::b25d6300-d88a-4de3-b385-5388d39617f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A3865B4-4F64-B3FE-C469-865558F4E1D9}">
  <a:tblStyle styleId="{7A3865B4-4F64-B3FE-C469-865558F4E1D9}" styleName="Syngenta Default Table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0" cmpd="sng">
              <a:solidFill>
                <a:schemeClr val="dk1"/>
              </a:solidFill>
            </a:ln>
          </a:bottom>
          <a:insideH>
            <a:ln w="7500" cmpd="sng">
              <a:solidFill>
                <a:srgbClr val="A6A6A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lt1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lt1"/>
          </a:solidFill>
        </a:fill>
      </a:tcStyle>
    </a:band1V>
    <a:band2V>
      <a:tcStyle>
        <a:tcBdr/>
      </a:tcStyle>
    </a:band2V>
    <a:lastCol>
      <a:tcTxStyle b="off">
        <a:fontRef idx="minor">
          <a:schemeClr val="dk1"/>
        </a:fontRef>
        <a:schemeClr val="dk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hemeClr val="dk1"/>
        </a:fontRef>
        <a:schemeClr val="dk1"/>
      </a:tcTxStyle>
      <a:tcStyle>
        <a:tcBdr/>
        <a:fill>
          <a:solidFill>
            <a:srgbClr val="F2F2F2"/>
          </a:solidFill>
        </a:fill>
      </a:tcStyle>
    </a:firstCol>
    <a:lastRow>
      <a:tcTxStyle b="on">
        <a:fontRef idx="minor">
          <a:prstClr val="black"/>
        </a:fontRef>
        <a:schemeClr val="dk1"/>
      </a:tcTxStyle>
      <a:tcStyle>
        <a:tcBdr>
          <a:top>
            <a:ln w="12700" cmpd="sng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prstClr val="black"/>
        </a:fontRef>
        <a:srgbClr val="245D73"/>
      </a:tcTxStyle>
      <a:tcStyle>
        <a:tcBdr>
          <a:bottom>
            <a:ln w="19050" cmpd="sng">
              <a:solidFill>
                <a:srgbClr val="00E6BE"/>
              </a:solidFill>
            </a:ln>
          </a:bottom>
        </a:tcBdr>
        <a:fill>
          <a:solidFill>
            <a:schemeClr val="l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38" autoAdjust="0"/>
    <p:restoredTop sz="94660"/>
  </p:normalViewPr>
  <p:slideViewPr>
    <p:cSldViewPr snapToGrid="0">
      <p:cViewPr varScale="1">
        <p:scale>
          <a:sx n="108" d="100"/>
          <a:sy n="108" d="100"/>
        </p:scale>
        <p:origin x="720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ligin Vasiliy RUMO" userId="b25d6300-d88a-4de3-b385-5388d39617f6" providerId="ADAL" clId="{B6F145D0-64C2-48EE-952B-9E0C172B2779}"/>
    <pc:docChg chg="modSld">
      <pc:chgData name="Maligin Vasiliy RUMO" userId="b25d6300-d88a-4de3-b385-5388d39617f6" providerId="ADAL" clId="{B6F145D0-64C2-48EE-952B-9E0C172B2779}" dt="2023-12-13T06:48:10.346" v="31" actId="6549"/>
      <pc:docMkLst>
        <pc:docMk/>
      </pc:docMkLst>
      <pc:sldChg chg="modSp mod">
        <pc:chgData name="Maligin Vasiliy RUMO" userId="b25d6300-d88a-4de3-b385-5388d39617f6" providerId="ADAL" clId="{B6F145D0-64C2-48EE-952B-9E0C172B2779}" dt="2023-12-13T06:48:10.346" v="31" actId="6549"/>
        <pc:sldMkLst>
          <pc:docMk/>
          <pc:sldMk cId="452672480" sldId="4237"/>
        </pc:sldMkLst>
        <pc:spChg chg="mod">
          <ac:chgData name="Maligin Vasiliy RUMO" userId="b25d6300-d88a-4de3-b385-5388d39617f6" providerId="ADAL" clId="{B6F145D0-64C2-48EE-952B-9E0C172B2779}" dt="2023-12-13T06:48:10.346" v="31" actId="6549"/>
          <ac:spMkLst>
            <pc:docMk/>
            <pc:sldMk cId="452672480" sldId="4237"/>
            <ac:spMk id="26" creationId="{35EC1926-4FD0-D16E-994E-4626F1A3053D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Binary_Worksheet.xlsb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Binary_Worksheet1.xlsb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Binary_Worksheet2.xlsb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Binary_Worksheet3.xlsb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Binary_Worksheet4.xlsb"/><Relationship Id="rId1" Type="http://schemas.openxmlformats.org/officeDocument/2006/relationships/themeOverride" Target="../theme/themeOverride5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Binary_Worksheet5.xlsb"/><Relationship Id="rId1" Type="http://schemas.openxmlformats.org/officeDocument/2006/relationships/themeOverride" Target="../theme/themeOverrid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dk2" tx2="lt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3.5299581978634462E-2"/>
          <c:y val="0.10262934690415607"/>
          <c:w val="0.95664963616658927"/>
          <c:h val="0.79813401187446986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621713316369805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60DA-43FA-B854-6937BA0345FE}"/>
                </c:ext>
              </c:extLst>
            </c:dLbl>
            <c:dLbl>
              <c:idx val="1"/>
              <c:layout>
                <c:manualLayout>
                  <c:x val="0"/>
                  <c:y val="-0.3231552162849872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0DA-43FA-B854-6937BA0345FE}"/>
                </c:ext>
              </c:extLst>
            </c:dLbl>
            <c:dLbl>
              <c:idx val="2"/>
              <c:layout>
                <c:manualLayout>
                  <c:x val="0"/>
                  <c:y val="-0.3731976251060220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60DA-43FA-B854-6937BA0345FE}"/>
                </c:ext>
              </c:extLst>
            </c:dLbl>
            <c:dLbl>
              <c:idx val="3"/>
              <c:layout>
                <c:manualLayout>
                  <c:x val="0"/>
                  <c:y val="-0.1730279898218829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60DA-43FA-B854-6937BA0345FE}"/>
                </c:ext>
              </c:extLst>
            </c:dLbl>
            <c:dLbl>
              <c:idx val="4"/>
              <c:layout>
                <c:manualLayout>
                  <c:x val="0"/>
                  <c:y val="-0.1178965224766751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60DA-43FA-B854-6937BA0345FE}"/>
                </c:ext>
              </c:extLst>
            </c:dLbl>
            <c:dLbl>
              <c:idx val="5"/>
              <c:layout>
                <c:manualLayout>
                  <c:x val="0"/>
                  <c:y val="-8.905852417302799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60DA-43FA-B854-6937BA0345FE}"/>
                </c:ext>
              </c:extLst>
            </c:dLbl>
            <c:dLbl>
              <c:idx val="6"/>
              <c:layout>
                <c:manualLayout>
                  <c:x val="0"/>
                  <c:y val="-0.1000848176420695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60DA-43FA-B854-6937BA0345FE}"/>
                </c:ext>
              </c:extLst>
            </c:dLbl>
            <c:dLbl>
              <c:idx val="7"/>
              <c:layout>
                <c:manualLayout>
                  <c:x val="0"/>
                  <c:y val="-0.1043256997455470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60DA-43FA-B854-6937BA0345FE}"/>
                </c:ext>
              </c:extLst>
            </c:dLbl>
            <c:dLbl>
              <c:idx val="8"/>
              <c:layout>
                <c:manualLayout>
                  <c:x val="0"/>
                  <c:y val="-0.1094147582697201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60DA-43FA-B854-6937BA0345FE}"/>
                </c:ext>
              </c:extLst>
            </c:dLbl>
            <c:dLbl>
              <c:idx val="9"/>
              <c:layout>
                <c:manualLayout>
                  <c:x val="0"/>
                  <c:y val="-0.1119592875318066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60DA-43FA-B854-6937BA0345FE}"/>
                </c:ext>
              </c:extLst>
            </c:dLbl>
            <c:dLbl>
              <c:idx val="10"/>
              <c:layout>
                <c:manualLayout>
                  <c:x val="0"/>
                  <c:y val="-0.2400339270568278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60DA-43FA-B854-6937BA0345FE}"/>
                </c:ext>
              </c:extLst>
            </c:dLbl>
            <c:dLbl>
              <c:idx val="11"/>
              <c:layout>
                <c:manualLayout>
                  <c:x val="0"/>
                  <c:y val="-0.3452078032230703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60DA-43FA-B854-6937BA0345FE}"/>
                </c:ext>
              </c:extLst>
            </c:dLbl>
            <c:dLbl>
              <c:idx val="12"/>
              <c:layout>
                <c:manualLayout>
                  <c:x val="0"/>
                  <c:y val="-0.332485156912637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60DA-43FA-B854-6937BA0345F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M$1</c:f>
              <c:numCache>
                <c:formatCode>General</c:formatCode>
                <c:ptCount val="13"/>
                <c:pt idx="0">
                  <c:v>694.76351351351354</c:v>
                </c:pt>
                <c:pt idx="1">
                  <c:v>646.26923076923072</c:v>
                </c:pt>
                <c:pt idx="2">
                  <c:v>709.69230769230774</c:v>
                </c:pt>
                <c:pt idx="3">
                  <c:v>457.67105263157896</c:v>
                </c:pt>
                <c:pt idx="4">
                  <c:v>390.02027027027026</c:v>
                </c:pt>
                <c:pt idx="5">
                  <c:v>366.94230769230768</c:v>
                </c:pt>
                <c:pt idx="6">
                  <c:v>373.98026315789474</c:v>
                </c:pt>
                <c:pt idx="7">
                  <c:v>376.25641025641028</c:v>
                </c:pt>
                <c:pt idx="8">
                  <c:v>379.69871794871796</c:v>
                </c:pt>
                <c:pt idx="9">
                  <c:v>382.08552631578948</c:v>
                </c:pt>
                <c:pt idx="10">
                  <c:v>542.30405405405406</c:v>
                </c:pt>
                <c:pt idx="11">
                  <c:v>674.12837837837833</c:v>
                </c:pt>
                <c:pt idx="12">
                  <c:v>658.782894736842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60DA-43FA-B854-6937BA0345FE}"/>
            </c:ext>
          </c:extLst>
        </c:ser>
        <c:ser>
          <c:idx val="1"/>
          <c:order val="1"/>
          <c:spPr>
            <a:solidFill>
              <a:schemeClr val="accent4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893129770992366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60DA-43FA-B854-6937BA0345FE}"/>
                </c:ext>
              </c:extLst>
            </c:dLbl>
            <c:dLbl>
              <c:idx val="1"/>
              <c:layout>
                <c:manualLayout>
                  <c:x val="0"/>
                  <c:y val="-0.3146734520780322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60DA-43FA-B854-6937BA0345FE}"/>
                </c:ext>
              </c:extLst>
            </c:dLbl>
            <c:dLbl>
              <c:idx val="2"/>
              <c:layout>
                <c:manualLayout>
                  <c:x val="0"/>
                  <c:y val="-0.3435114503816794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60DA-43FA-B854-6937BA0345FE}"/>
                </c:ext>
              </c:extLst>
            </c:dLbl>
            <c:dLbl>
              <c:idx val="3"/>
              <c:layout>
                <c:manualLayout>
                  <c:x val="0"/>
                  <c:y val="-0.2044105173876166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60DA-43FA-B854-6937BA0345FE}"/>
                </c:ext>
              </c:extLst>
            </c:dLbl>
            <c:dLbl>
              <c:idx val="4"/>
              <c:layout>
                <c:manualLayout>
                  <c:x val="0"/>
                  <c:y val="-0.1068702290076335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60DA-43FA-B854-6937BA0345FE}"/>
                </c:ext>
              </c:extLst>
            </c:dLbl>
            <c:dLbl>
              <c:idx val="5"/>
              <c:layout>
                <c:manualLayout>
                  <c:x val="0"/>
                  <c:y val="-9.584393553859202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60DA-43FA-B854-6937BA0345FE}"/>
                </c:ext>
              </c:extLst>
            </c:dLbl>
            <c:dLbl>
              <c:idx val="6"/>
              <c:layout>
                <c:manualLayout>
                  <c:x val="0"/>
                  <c:y val="-8.142493638676845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60DA-43FA-B854-6937BA0345FE}"/>
                </c:ext>
              </c:extLst>
            </c:dLbl>
            <c:dLbl>
              <c:idx val="7"/>
              <c:layout>
                <c:manualLayout>
                  <c:x val="0"/>
                  <c:y val="-8.905852417302799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60DA-43FA-B854-6937BA0345FE}"/>
                </c:ext>
              </c:extLst>
            </c:dLbl>
            <c:dLbl>
              <c:idx val="8"/>
              <c:layout>
                <c:manualLayout>
                  <c:x val="0"/>
                  <c:y val="-8.227311280746395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60DA-43FA-B854-6937BA0345FE}"/>
                </c:ext>
              </c:extLst>
            </c:dLbl>
            <c:dLbl>
              <c:idx val="9"/>
              <c:layout>
                <c:manualLayout>
                  <c:x val="0"/>
                  <c:y val="-2.798982188295165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60DA-43FA-B854-6937BA0345FE}"/>
                </c:ext>
              </c:extLst>
            </c:dLbl>
            <c:dLbl>
              <c:idx val="10"/>
              <c:layout>
                <c:manualLayout>
                  <c:x val="0"/>
                  <c:y val="-0.2807463952502120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60DA-43FA-B854-6937BA0345FE}"/>
                </c:ext>
              </c:extLst>
            </c:dLbl>
            <c:dLbl>
              <c:idx val="11"/>
              <c:layout>
                <c:manualLayout>
                  <c:x val="0"/>
                  <c:y val="-0.4240882103477523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60DA-43FA-B854-6937BA0345FE}"/>
                </c:ext>
              </c:extLst>
            </c:dLbl>
            <c:dLbl>
              <c:idx val="12"/>
              <c:layout>
                <c:manualLayout>
                  <c:x val="0"/>
                  <c:y val="-0.3265479219677692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60DA-43FA-B854-6937BA0345F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M$2</c:f>
              <c:numCache>
                <c:formatCode>General</c:formatCode>
                <c:ptCount val="13"/>
                <c:pt idx="0">
                  <c:v>729.94354838709683</c:v>
                </c:pt>
                <c:pt idx="1">
                  <c:v>636.06451612903231</c:v>
                </c:pt>
                <c:pt idx="2">
                  <c:v>671.765625</c:v>
                </c:pt>
                <c:pt idx="3">
                  <c:v>497.484375</c:v>
                </c:pt>
                <c:pt idx="4">
                  <c:v>378.265625</c:v>
                </c:pt>
                <c:pt idx="5">
                  <c:v>371.07258064516128</c:v>
                </c:pt>
                <c:pt idx="6">
                  <c:v>361.95</c:v>
                </c:pt>
                <c:pt idx="7">
                  <c:v>366.82258064516128</c:v>
                </c:pt>
                <c:pt idx="8">
                  <c:v>362.5078125</c:v>
                </c:pt>
                <c:pt idx="9">
                  <c:v>328.4765625</c:v>
                </c:pt>
                <c:pt idx="10">
                  <c:v>593.8828125</c:v>
                </c:pt>
                <c:pt idx="11">
                  <c:v>773.67741935483866</c:v>
                </c:pt>
                <c:pt idx="12">
                  <c:v>650.45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B-60DA-43FA-B854-6937BA0345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290731320"/>
        <c:axId val="1"/>
      </c:barChart>
      <c:catAx>
        <c:axId val="12907313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00"/>
          <c:min val="30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290731320"/>
        <c:crosses val="min"/>
        <c:crossBetween val="between"/>
        <c:majorUnit val="50"/>
      </c:valAx>
    </c:plotArea>
    <c:plotVisOnly val="0"/>
    <c:dispBlanksAs val="gap"/>
    <c:showDLblsOverMax val="1"/>
  </c:chart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dk2" tx2="lt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3.5299581978634462E-2"/>
          <c:y val="9.957446808510638E-2"/>
          <c:w val="0.95664963616658927"/>
          <c:h val="0.80085106382978721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412765957446808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D04-4FCF-A9B8-2B71DFAF3DA7}"/>
                </c:ext>
              </c:extLst>
            </c:dLbl>
            <c:dLbl>
              <c:idx val="1"/>
              <c:layout>
                <c:manualLayout>
                  <c:x val="0"/>
                  <c:y val="-0.3208510638297872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D04-4FCF-A9B8-2B71DFAF3DA7}"/>
                </c:ext>
              </c:extLst>
            </c:dLbl>
            <c:dLbl>
              <c:idx val="2"/>
              <c:layout>
                <c:manualLayout>
                  <c:x val="0"/>
                  <c:y val="-0.2212765957446808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5D04-4FCF-A9B8-2B71DFAF3DA7}"/>
                </c:ext>
              </c:extLst>
            </c:dLbl>
            <c:dLbl>
              <c:idx val="3"/>
              <c:layout>
                <c:manualLayout>
                  <c:x val="0"/>
                  <c:y val="-0.1455319148936170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5D04-4FCF-A9B8-2B71DFAF3DA7}"/>
                </c:ext>
              </c:extLst>
            </c:dLbl>
            <c:dLbl>
              <c:idx val="4"/>
              <c:layout>
                <c:manualLayout>
                  <c:x val="0"/>
                  <c:y val="-0.122553191489361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5D04-4FCF-A9B8-2B71DFAF3DA7}"/>
                </c:ext>
              </c:extLst>
            </c:dLbl>
            <c:dLbl>
              <c:idx val="5"/>
              <c:layout>
                <c:manualLayout>
                  <c:x val="0"/>
                  <c:y val="-0.114893617021276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5D04-4FCF-A9B8-2B71DFAF3DA7}"/>
                </c:ext>
              </c:extLst>
            </c:dLbl>
            <c:dLbl>
              <c:idx val="6"/>
              <c:layout>
                <c:manualLayout>
                  <c:x val="0"/>
                  <c:y val="-0.1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5D04-4FCF-A9B8-2B71DFAF3DA7}"/>
                </c:ext>
              </c:extLst>
            </c:dLbl>
            <c:dLbl>
              <c:idx val="7"/>
              <c:layout>
                <c:manualLayout>
                  <c:x val="0"/>
                  <c:y val="-0.1157446808510638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5D04-4FCF-A9B8-2B71DFAF3DA7}"/>
                </c:ext>
              </c:extLst>
            </c:dLbl>
            <c:dLbl>
              <c:idx val="8"/>
              <c:layout>
                <c:manualLayout>
                  <c:x val="0"/>
                  <c:y val="-0.152340425531914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5D04-4FCF-A9B8-2B71DFAF3DA7}"/>
                </c:ext>
              </c:extLst>
            </c:dLbl>
            <c:dLbl>
              <c:idx val="9"/>
              <c:layout>
                <c:manualLayout>
                  <c:x val="0"/>
                  <c:y val="-4.25531914893617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5D04-4FCF-A9B8-2B71DFAF3DA7}"/>
                </c:ext>
              </c:extLst>
            </c:dLbl>
            <c:dLbl>
              <c:idx val="10"/>
              <c:layout>
                <c:manualLayout>
                  <c:x val="0"/>
                  <c:y val="-0.251914893617021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5D04-4FCF-A9B8-2B71DFAF3DA7}"/>
                </c:ext>
              </c:extLst>
            </c:dLbl>
            <c:dLbl>
              <c:idx val="11"/>
              <c:layout>
                <c:manualLayout>
                  <c:x val="0"/>
                  <c:y val="-0.3370212765957446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5D04-4FCF-A9B8-2B71DFAF3DA7}"/>
                </c:ext>
              </c:extLst>
            </c:dLbl>
            <c:dLbl>
              <c:idx val="12"/>
              <c:layout>
                <c:manualLayout>
                  <c:x val="0"/>
                  <c:y val="-0.2314893617021276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5D04-4FCF-A9B8-2B71DFAF3DA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M$1</c:f>
              <c:numCache>
                <c:formatCode>General</c:formatCode>
                <c:ptCount val="13"/>
                <c:pt idx="0">
                  <c:v>667.51587301587301</c:v>
                </c:pt>
                <c:pt idx="1">
                  <c:v>641.46875</c:v>
                </c:pt>
                <c:pt idx="2">
                  <c:v>518.02692307692303</c:v>
                </c:pt>
                <c:pt idx="3">
                  <c:v>423.8984375</c:v>
                </c:pt>
                <c:pt idx="4">
                  <c:v>394.58730158730157</c:v>
                </c:pt>
                <c:pt idx="5">
                  <c:v>384.32539682539681</c:v>
                </c:pt>
                <c:pt idx="6">
                  <c:v>390.63492063492066</c:v>
                </c:pt>
                <c:pt idx="7">
                  <c:v>386.21875</c:v>
                </c:pt>
                <c:pt idx="8">
                  <c:v>431.81538461538463</c:v>
                </c:pt>
                <c:pt idx="9">
                  <c:v>337.6904761904762</c:v>
                </c:pt>
                <c:pt idx="10">
                  <c:v>556.3730158730159</c:v>
                </c:pt>
                <c:pt idx="11">
                  <c:v>661.76587301587301</c:v>
                </c:pt>
                <c:pt idx="12">
                  <c:v>530.428571428571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5D04-4FCF-A9B8-2B71DFAF3DA7}"/>
            </c:ext>
          </c:extLst>
        </c:ser>
        <c:ser>
          <c:idx val="1"/>
          <c:order val="1"/>
          <c:spPr>
            <a:solidFill>
              <a:schemeClr val="accent4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259574468085106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5D04-4FCF-A9B8-2B71DFAF3DA7}"/>
                </c:ext>
              </c:extLst>
            </c:dLbl>
            <c:dLbl>
              <c:idx val="1"/>
              <c:layout>
                <c:manualLayout>
                  <c:x val="0"/>
                  <c:y val="-0.407659574468085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5D04-4FCF-A9B8-2B71DFAF3DA7}"/>
                </c:ext>
              </c:extLst>
            </c:dLbl>
            <c:dLbl>
              <c:idx val="2"/>
              <c:layout>
                <c:manualLayout>
                  <c:x val="0"/>
                  <c:y val="-0.1634042553191489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5D04-4FCF-A9B8-2B71DFAF3DA7}"/>
                </c:ext>
              </c:extLst>
            </c:dLbl>
            <c:dLbl>
              <c:idx val="3"/>
              <c:layout>
                <c:manualLayout>
                  <c:x val="0"/>
                  <c:y val="-5.10638297872340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5D04-4FCF-A9B8-2B71DFAF3DA7}"/>
                </c:ext>
              </c:extLst>
            </c:dLbl>
            <c:dLbl>
              <c:idx val="4"/>
              <c:layout>
                <c:manualLayout>
                  <c:x val="0"/>
                  <c:y val="-0.1140425531914893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5D04-4FCF-A9B8-2B71DFAF3DA7}"/>
                </c:ext>
              </c:extLst>
            </c:dLbl>
            <c:dLbl>
              <c:idx val="5"/>
              <c:layout>
                <c:manualLayout>
                  <c:x val="0"/>
                  <c:y val="-5.10638297872340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5D04-4FCF-A9B8-2B71DFAF3DA7}"/>
                </c:ext>
              </c:extLst>
            </c:dLbl>
            <c:dLbl>
              <c:idx val="6"/>
              <c:layout>
                <c:manualLayout>
                  <c:x val="0"/>
                  <c:y val="-6.297872340425532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5D04-4FCF-A9B8-2B71DFAF3DA7}"/>
                </c:ext>
              </c:extLst>
            </c:dLbl>
            <c:dLbl>
              <c:idx val="7"/>
              <c:layout>
                <c:manualLayout>
                  <c:x val="0"/>
                  <c:y val="-8.34042553191489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5D04-4FCF-A9B8-2B71DFAF3DA7}"/>
                </c:ext>
              </c:extLst>
            </c:dLbl>
            <c:dLbl>
              <c:idx val="8"/>
              <c:layout>
                <c:manualLayout>
                  <c:x val="0"/>
                  <c:y val="-0.1131914893617021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5D04-4FCF-A9B8-2B71DFAF3DA7}"/>
                </c:ext>
              </c:extLst>
            </c:dLbl>
            <c:dLbl>
              <c:idx val="9"/>
              <c:layout>
                <c:manualLayout>
                  <c:x val="0"/>
                  <c:y val="-0.117446808510638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5D04-4FCF-A9B8-2B71DFAF3DA7}"/>
                </c:ext>
              </c:extLst>
            </c:dLbl>
            <c:dLbl>
              <c:idx val="10"/>
              <c:layout>
                <c:manualLayout>
                  <c:x val="0"/>
                  <c:y val="-0.2340425531914893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5D04-4FCF-A9B8-2B71DFAF3DA7}"/>
                </c:ext>
              </c:extLst>
            </c:dLbl>
            <c:dLbl>
              <c:idx val="11"/>
              <c:layout>
                <c:manualLayout>
                  <c:x val="0"/>
                  <c:y val="-0.3531914893617021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5D04-4FCF-A9B8-2B71DFAF3DA7}"/>
                </c:ext>
              </c:extLst>
            </c:dLbl>
            <c:dLbl>
              <c:idx val="12"/>
              <c:layout>
                <c:manualLayout>
                  <c:x val="0"/>
                  <c:y val="-0.1948936170212765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5D04-4FCF-A9B8-2B71DFAF3DA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M$2</c:f>
              <c:numCache>
                <c:formatCode>General</c:formatCode>
                <c:ptCount val="13"/>
                <c:pt idx="0">
                  <c:v>649.25</c:v>
                </c:pt>
                <c:pt idx="1">
                  <c:v>750.81756756756761</c:v>
                </c:pt>
                <c:pt idx="2">
                  <c:v>445.5337837837838</c:v>
                </c:pt>
                <c:pt idx="3">
                  <c:v>343.10810810810813</c:v>
                </c:pt>
                <c:pt idx="4">
                  <c:v>383.98611111111109</c:v>
                </c:pt>
                <c:pt idx="5">
                  <c:v>343.18055555555554</c:v>
                </c:pt>
                <c:pt idx="6">
                  <c:v>350.73648648648651</c:v>
                </c:pt>
                <c:pt idx="7">
                  <c:v>363.35135135135135</c:v>
                </c:pt>
                <c:pt idx="8">
                  <c:v>383.02027027027026</c:v>
                </c:pt>
                <c:pt idx="9">
                  <c:v>387.55555555555554</c:v>
                </c:pt>
                <c:pt idx="10">
                  <c:v>533.16428571428571</c:v>
                </c:pt>
                <c:pt idx="11">
                  <c:v>683.17361111111109</c:v>
                </c:pt>
                <c:pt idx="12">
                  <c:v>484.831081081081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B-5D04-4FCF-A9B8-2B71DFAF3D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156665712"/>
        <c:axId val="1"/>
      </c:barChart>
      <c:catAx>
        <c:axId val="115666571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00"/>
          <c:min val="30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156665712"/>
        <c:crosses val="min"/>
        <c:crossBetween val="between"/>
        <c:majorUnit val="50"/>
      </c:valAx>
    </c:plotArea>
    <c:plotVisOnly val="0"/>
    <c:dispBlanksAs val="gap"/>
    <c:showDLblsOverMax val="1"/>
  </c:chart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dk2" tx2="lt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3.5299581978634462E-2"/>
          <c:y val="5.9255856683509418E-2"/>
          <c:w val="0.95664963616658927"/>
          <c:h val="0.8870004593477262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500229673863114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785-4230-BA46-7DE030A999D0}"/>
                </c:ext>
              </c:extLst>
            </c:dLbl>
            <c:dLbl>
              <c:idx val="1"/>
              <c:layout>
                <c:manualLayout>
                  <c:x val="0"/>
                  <c:y val="-0.2958199356913183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2785-4230-BA46-7DE030A999D0}"/>
                </c:ext>
              </c:extLst>
            </c:dLbl>
            <c:dLbl>
              <c:idx val="2"/>
              <c:layout>
                <c:manualLayout>
                  <c:x val="0"/>
                  <c:y val="-0.2282958199356913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2785-4230-BA46-7DE030A999D0}"/>
                </c:ext>
              </c:extLst>
            </c:dLbl>
            <c:dLbl>
              <c:idx val="3"/>
              <c:layout>
                <c:manualLayout>
                  <c:x val="0"/>
                  <c:y val="-0.1341295360587965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2785-4230-BA46-7DE030A999D0}"/>
                </c:ext>
              </c:extLst>
            </c:dLbl>
            <c:dLbl>
              <c:idx val="4"/>
              <c:layout>
                <c:manualLayout>
                  <c:x val="0"/>
                  <c:y val="-8.681672025723473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2785-4230-BA46-7DE030A999D0}"/>
                </c:ext>
              </c:extLst>
            </c:dLbl>
            <c:dLbl>
              <c:idx val="5"/>
              <c:layout>
                <c:manualLayout>
                  <c:x val="0"/>
                  <c:y val="-7.16582452916858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2785-4230-BA46-7DE030A999D0}"/>
                </c:ext>
              </c:extLst>
            </c:dLbl>
            <c:dLbl>
              <c:idx val="6"/>
              <c:layout>
                <c:manualLayout>
                  <c:x val="0"/>
                  <c:y val="-7.808911345888837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2785-4230-BA46-7DE030A999D0}"/>
                </c:ext>
              </c:extLst>
            </c:dLbl>
            <c:dLbl>
              <c:idx val="7"/>
              <c:layout>
                <c:manualLayout>
                  <c:x val="0"/>
                  <c:y val="-8.497932935231970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2785-4230-BA46-7DE030A999D0}"/>
                </c:ext>
              </c:extLst>
            </c:dLbl>
            <c:dLbl>
              <c:idx val="8"/>
              <c:layout>
                <c:manualLayout>
                  <c:x val="0"/>
                  <c:y val="-0.1015158474965548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2785-4230-BA46-7DE030A999D0}"/>
                </c:ext>
              </c:extLst>
            </c:dLbl>
            <c:dLbl>
              <c:idx val="9"/>
              <c:layout>
                <c:manualLayout>
                  <c:x val="0"/>
                  <c:y val="-5.512172714745061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2785-4230-BA46-7DE030A999D0}"/>
                </c:ext>
              </c:extLst>
            </c:dLbl>
            <c:dLbl>
              <c:idx val="10"/>
              <c:layout>
                <c:manualLayout>
                  <c:x val="0"/>
                  <c:y val="-0.2292145153881488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2785-4230-BA46-7DE030A999D0}"/>
                </c:ext>
              </c:extLst>
            </c:dLbl>
            <c:dLbl>
              <c:idx val="11"/>
              <c:layout>
                <c:manualLayout>
                  <c:x val="0"/>
                  <c:y val="-0.3771244832338079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2785-4230-BA46-7DE030A999D0}"/>
                </c:ext>
              </c:extLst>
            </c:dLbl>
            <c:dLbl>
              <c:idx val="12"/>
              <c:layout>
                <c:manualLayout>
                  <c:x val="0"/>
                  <c:y val="-0.2397795130914101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2785-4230-BA46-7DE030A999D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M$1</c:f>
              <c:numCache>
                <c:formatCode>General</c:formatCode>
                <c:ptCount val="13"/>
                <c:pt idx="0">
                  <c:v>647.80327868852464</c:v>
                </c:pt>
                <c:pt idx="1">
                  <c:v>596.17943548387098</c:v>
                </c:pt>
                <c:pt idx="2">
                  <c:v>532.36491935483866</c:v>
                </c:pt>
                <c:pt idx="3">
                  <c:v>443.07638888888891</c:v>
                </c:pt>
                <c:pt idx="4">
                  <c:v>398.2110655737705</c:v>
                </c:pt>
                <c:pt idx="5">
                  <c:v>384.03048780487802</c:v>
                </c:pt>
                <c:pt idx="6">
                  <c:v>389.73577235772359</c:v>
                </c:pt>
                <c:pt idx="7">
                  <c:v>396.56854838709677</c:v>
                </c:pt>
                <c:pt idx="8">
                  <c:v>411.95967741935482</c:v>
                </c:pt>
                <c:pt idx="9">
                  <c:v>347.1808943089431</c:v>
                </c:pt>
                <c:pt idx="10">
                  <c:v>532.88319672131149</c:v>
                </c:pt>
                <c:pt idx="11">
                  <c:v>673.24385245901635</c:v>
                </c:pt>
                <c:pt idx="12">
                  <c:v>542.892276422764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2785-4230-BA46-7DE030A999D0}"/>
            </c:ext>
          </c:extLst>
        </c:ser>
        <c:ser>
          <c:idx val="1"/>
          <c:order val="1"/>
          <c:spPr>
            <a:solidFill>
              <a:schemeClr val="accent4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518603582912264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2785-4230-BA46-7DE030A999D0}"/>
                </c:ext>
              </c:extLst>
            </c:dLbl>
            <c:dLbl>
              <c:idx val="1"/>
              <c:layout>
                <c:manualLayout>
                  <c:x val="0"/>
                  <c:y val="-0.4593477262287551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2785-4230-BA46-7DE030A999D0}"/>
                </c:ext>
              </c:extLst>
            </c:dLbl>
            <c:dLbl>
              <c:idx val="2"/>
              <c:layout>
                <c:manualLayout>
                  <c:x val="0"/>
                  <c:y val="-0.1364262746899402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2785-4230-BA46-7DE030A999D0}"/>
                </c:ext>
              </c:extLst>
            </c:dLbl>
            <c:dLbl>
              <c:idx val="3"/>
              <c:layout>
                <c:manualLayout>
                  <c:x val="0"/>
                  <c:y val="3.215434083601286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2785-4230-BA46-7DE030A999D0}"/>
                </c:ext>
              </c:extLst>
            </c:dLbl>
            <c:dLbl>
              <c:idx val="4"/>
              <c:layout>
                <c:manualLayout>
                  <c:x val="0"/>
                  <c:y val="-7.16582452916858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2785-4230-BA46-7DE030A999D0}"/>
                </c:ext>
              </c:extLst>
            </c:dLbl>
            <c:dLbl>
              <c:idx val="5"/>
              <c:layout>
                <c:manualLayout>
                  <c:x val="0"/>
                  <c:y val="2.756086357372530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2785-4230-BA46-7DE030A999D0}"/>
                </c:ext>
              </c:extLst>
            </c:dLbl>
            <c:dLbl>
              <c:idx val="6"/>
              <c:layout>
                <c:manualLayout>
                  <c:x val="0"/>
                  <c:y val="-1.286173633440514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2785-4230-BA46-7DE030A999D0}"/>
                </c:ext>
              </c:extLst>
            </c:dLbl>
            <c:dLbl>
              <c:idx val="7"/>
              <c:layout>
                <c:manualLayout>
                  <c:x val="0"/>
                  <c:y val="-3.950390445567294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2785-4230-BA46-7DE030A999D0}"/>
                </c:ext>
              </c:extLst>
            </c:dLbl>
            <c:dLbl>
              <c:idx val="8"/>
              <c:layout>
                <c:manualLayout>
                  <c:x val="0"/>
                  <c:y val="-7.073954983922829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2785-4230-BA46-7DE030A999D0}"/>
                </c:ext>
              </c:extLst>
            </c:dLbl>
            <c:dLbl>
              <c:idx val="9"/>
              <c:layout>
                <c:manualLayout>
                  <c:x val="0"/>
                  <c:y val="-7.579237482774460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2785-4230-BA46-7DE030A999D0}"/>
                </c:ext>
              </c:extLst>
            </c:dLbl>
            <c:dLbl>
              <c:idx val="10"/>
              <c:layout>
                <c:manualLayout>
                  <c:x val="0"/>
                  <c:y val="-0.2292145153881488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2785-4230-BA46-7DE030A999D0}"/>
                </c:ext>
              </c:extLst>
            </c:dLbl>
            <c:dLbl>
              <c:idx val="11"/>
              <c:layout>
                <c:manualLayout>
                  <c:x val="0"/>
                  <c:y val="-0.3876894809370693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2785-4230-BA46-7DE030A999D0}"/>
                </c:ext>
              </c:extLst>
            </c:dLbl>
            <c:dLbl>
              <c:idx val="12"/>
              <c:layout>
                <c:manualLayout>
                  <c:x val="0"/>
                  <c:y val="-0.17822691777675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2785-4230-BA46-7DE030A999D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M$2</c:f>
              <c:numCache>
                <c:formatCode>General</c:formatCode>
                <c:ptCount val="13"/>
                <c:pt idx="0">
                  <c:v>649.25</c:v>
                </c:pt>
                <c:pt idx="1">
                  <c:v>750.81756756756761</c:v>
                </c:pt>
                <c:pt idx="2">
                  <c:v>445.5337837837838</c:v>
                </c:pt>
                <c:pt idx="3">
                  <c:v>343.10810810810813</c:v>
                </c:pt>
                <c:pt idx="4">
                  <c:v>383.98611111111109</c:v>
                </c:pt>
                <c:pt idx="5">
                  <c:v>343.18055555555554</c:v>
                </c:pt>
                <c:pt idx="6">
                  <c:v>350.73648648648651</c:v>
                </c:pt>
                <c:pt idx="7">
                  <c:v>363.35135135135135</c:v>
                </c:pt>
                <c:pt idx="8">
                  <c:v>383.02027027027026</c:v>
                </c:pt>
                <c:pt idx="9">
                  <c:v>387.55555555555554</c:v>
                </c:pt>
                <c:pt idx="10">
                  <c:v>533.16428571428571</c:v>
                </c:pt>
                <c:pt idx="11">
                  <c:v>683.17361111111109</c:v>
                </c:pt>
                <c:pt idx="12">
                  <c:v>484.831081081081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B-2785-4230-BA46-7DE030A999D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863722840"/>
        <c:axId val="1"/>
      </c:barChart>
      <c:catAx>
        <c:axId val="18637228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60"/>
          <c:min val="34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863722840"/>
        <c:crosses val="min"/>
        <c:crossBetween val="between"/>
        <c:majorUnit val="20"/>
      </c:valAx>
    </c:plotArea>
    <c:plotVisOnly val="0"/>
    <c:dispBlanksAs val="gap"/>
    <c:showDLblsOverMax val="1"/>
  </c:chart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dk2" tx2="lt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3.5299581978634462E-2"/>
          <c:y val="0.10034013605442177"/>
          <c:w val="0.95664963616658927"/>
          <c:h val="0.80017006802721091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2117346938775510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337-47C8-B5D2-C7739461B36A}"/>
                </c:ext>
              </c:extLst>
            </c:dLbl>
            <c:dLbl>
              <c:idx val="1"/>
              <c:layout>
                <c:manualLayout>
                  <c:x val="0"/>
                  <c:y val="-0.1386054421768707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337-47C8-B5D2-C7739461B36A}"/>
                </c:ext>
              </c:extLst>
            </c:dLbl>
            <c:dLbl>
              <c:idx val="2"/>
              <c:layout>
                <c:manualLayout>
                  <c:x val="0"/>
                  <c:y val="-0.1887755102040816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A337-47C8-B5D2-C7739461B36A}"/>
                </c:ext>
              </c:extLst>
            </c:dLbl>
            <c:dLbl>
              <c:idx val="3"/>
              <c:layout>
                <c:manualLayout>
                  <c:x val="0"/>
                  <c:y val="-0.1224489795918367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337-47C8-B5D2-C7739461B36A}"/>
                </c:ext>
              </c:extLst>
            </c:dLbl>
            <c:dLbl>
              <c:idx val="4"/>
              <c:layout>
                <c:manualLayout>
                  <c:x val="0"/>
                  <c:y val="-0.1054421768707483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A337-47C8-B5D2-C7739461B36A}"/>
                </c:ext>
              </c:extLst>
            </c:dLbl>
            <c:dLbl>
              <c:idx val="5"/>
              <c:layout>
                <c:manualLayout>
                  <c:x val="0"/>
                  <c:y val="-1.445578231292517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A337-47C8-B5D2-C7739461B36A}"/>
                </c:ext>
              </c:extLst>
            </c:dLbl>
            <c:dLbl>
              <c:idx val="6"/>
              <c:layout>
                <c:manualLayout>
                  <c:x val="0"/>
                  <c:y val="-5.527210884353741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A337-47C8-B5D2-C7739461B36A}"/>
                </c:ext>
              </c:extLst>
            </c:dLbl>
            <c:dLbl>
              <c:idx val="7"/>
              <c:layout>
                <c:manualLayout>
                  <c:x val="0"/>
                  <c:y val="-2.295918367346938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A337-47C8-B5D2-C7739461B36A}"/>
                </c:ext>
              </c:extLst>
            </c:dLbl>
            <c:dLbl>
              <c:idx val="8"/>
              <c:layout>
                <c:manualLayout>
                  <c:x val="0"/>
                  <c:y val="-0.1215986394557823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A337-47C8-B5D2-C7739461B36A}"/>
                </c:ext>
              </c:extLst>
            </c:dLbl>
            <c:dLbl>
              <c:idx val="9"/>
              <c:layout>
                <c:manualLayout>
                  <c:x val="0"/>
                  <c:y val="-0.1054421768707483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A337-47C8-B5D2-C7739461B36A}"/>
                </c:ext>
              </c:extLst>
            </c:dLbl>
            <c:dLbl>
              <c:idx val="10"/>
              <c:layout>
                <c:manualLayout>
                  <c:x val="0"/>
                  <c:y val="-0.1658163265306122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A337-47C8-B5D2-C7739461B36A}"/>
                </c:ext>
              </c:extLst>
            </c:dLbl>
            <c:dLbl>
              <c:idx val="11"/>
              <c:layout>
                <c:manualLayout>
                  <c:x val="0"/>
                  <c:y val="-0.2933673469387755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A337-47C8-B5D2-C7739461B36A}"/>
                </c:ext>
              </c:extLst>
            </c:dLbl>
            <c:dLbl>
              <c:idx val="12"/>
              <c:layout>
                <c:manualLayout>
                  <c:x val="0"/>
                  <c:y val="-0.2559523809523809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A337-47C8-B5D2-C7739461B36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M$1</c:f>
              <c:numCache>
                <c:formatCode>General</c:formatCode>
                <c:ptCount val="13"/>
                <c:pt idx="0">
                  <c:v>253.37837837837839</c:v>
                </c:pt>
                <c:pt idx="1">
                  <c:v>207.39102564102564</c:v>
                </c:pt>
                <c:pt idx="2">
                  <c:v>239.07051282051282</c:v>
                </c:pt>
                <c:pt idx="3">
                  <c:v>196.97368421052633</c:v>
                </c:pt>
                <c:pt idx="4">
                  <c:v>188.52702702702703</c:v>
                </c:pt>
                <c:pt idx="5">
                  <c:v>160.07236842105263</c:v>
                </c:pt>
                <c:pt idx="6">
                  <c:v>172.96710526315789</c:v>
                </c:pt>
                <c:pt idx="7">
                  <c:v>162.71153846153845</c:v>
                </c:pt>
                <c:pt idx="8">
                  <c:v>196.40384615384616</c:v>
                </c:pt>
                <c:pt idx="9">
                  <c:v>188.63815789473685</c:v>
                </c:pt>
                <c:pt idx="10">
                  <c:v>224.51351351351352</c:v>
                </c:pt>
                <c:pt idx="11">
                  <c:v>303.77702702702703</c:v>
                </c:pt>
                <c:pt idx="12">
                  <c:v>281.013157894736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A337-47C8-B5D2-C7739461B36A}"/>
            </c:ext>
          </c:extLst>
        </c:ser>
        <c:ser>
          <c:idx val="1"/>
          <c:order val="1"/>
          <c:spPr>
            <a:solidFill>
              <a:schemeClr val="accent4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947278911564625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A337-47C8-B5D2-C7739461B36A}"/>
                </c:ext>
              </c:extLst>
            </c:dLbl>
            <c:dLbl>
              <c:idx val="1"/>
              <c:layout>
                <c:manualLayout>
                  <c:x val="0"/>
                  <c:y val="-0.1454081632653061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A337-47C8-B5D2-C7739461B36A}"/>
                </c:ext>
              </c:extLst>
            </c:dLbl>
            <c:dLbl>
              <c:idx val="2"/>
              <c:layout>
                <c:manualLayout>
                  <c:x val="0"/>
                  <c:y val="-0.19557823129251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A337-47C8-B5D2-C7739461B36A}"/>
                </c:ext>
              </c:extLst>
            </c:dLbl>
            <c:dLbl>
              <c:idx val="3"/>
              <c:layout>
                <c:manualLayout>
                  <c:x val="0"/>
                  <c:y val="-0.1471088435374149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A337-47C8-B5D2-C7739461B36A}"/>
                </c:ext>
              </c:extLst>
            </c:dLbl>
            <c:dLbl>
              <c:idx val="4"/>
              <c:layout>
                <c:manualLayout>
                  <c:x val="0"/>
                  <c:y val="-0.1028911564625850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A337-47C8-B5D2-C7739461B36A}"/>
                </c:ext>
              </c:extLst>
            </c:dLbl>
            <c:dLbl>
              <c:idx val="5"/>
              <c:layout>
                <c:manualLayout>
                  <c:x val="0"/>
                  <c:y val="5.952380952380952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A337-47C8-B5D2-C7739461B36A}"/>
                </c:ext>
              </c:extLst>
            </c:dLbl>
            <c:dLbl>
              <c:idx val="6"/>
              <c:layout>
                <c:manualLayout>
                  <c:x val="0"/>
                  <c:y val="-3.146258503401360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A337-47C8-B5D2-C7739461B36A}"/>
                </c:ext>
              </c:extLst>
            </c:dLbl>
            <c:dLbl>
              <c:idx val="7"/>
              <c:layout>
                <c:manualLayout>
                  <c:x val="0"/>
                  <c:y val="-2.891156462585034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A337-47C8-B5D2-C7739461B36A}"/>
                </c:ext>
              </c:extLst>
            </c:dLbl>
            <c:dLbl>
              <c:idx val="8"/>
              <c:layout>
                <c:manualLayout>
                  <c:x val="0"/>
                  <c:y val="-9.948979591836734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A337-47C8-B5D2-C7739461B36A}"/>
                </c:ext>
              </c:extLst>
            </c:dLbl>
            <c:dLbl>
              <c:idx val="9"/>
              <c:layout>
                <c:manualLayout>
                  <c:x val="0"/>
                  <c:y val="-0.1207482993197278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A337-47C8-B5D2-C7739461B36A}"/>
                </c:ext>
              </c:extLst>
            </c:dLbl>
            <c:dLbl>
              <c:idx val="10"/>
              <c:layout>
                <c:manualLayout>
                  <c:x val="0"/>
                  <c:y val="-0.1624149659863945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A337-47C8-B5D2-C7739461B36A}"/>
                </c:ext>
              </c:extLst>
            </c:dLbl>
            <c:dLbl>
              <c:idx val="11"/>
              <c:layout>
                <c:manualLayout>
                  <c:x val="0"/>
                  <c:y val="-0.4243197278911564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A337-47C8-B5D2-C7739461B36A}"/>
                </c:ext>
              </c:extLst>
            </c:dLbl>
            <c:dLbl>
              <c:idx val="12"/>
              <c:layout>
                <c:manualLayout>
                  <c:x val="0"/>
                  <c:y val="-0.2108843537414966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A337-47C8-B5D2-C7739461B36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M$2</c:f>
              <c:numCache>
                <c:formatCode>General</c:formatCode>
                <c:ptCount val="13"/>
                <c:pt idx="0">
                  <c:v>242.36290322580646</c:v>
                </c:pt>
                <c:pt idx="1">
                  <c:v>211.92741935483872</c:v>
                </c:pt>
                <c:pt idx="2">
                  <c:v>243.2890625</c:v>
                </c:pt>
                <c:pt idx="3">
                  <c:v>212.328125</c:v>
                </c:pt>
                <c:pt idx="4">
                  <c:v>187.75</c:v>
                </c:pt>
                <c:pt idx="5">
                  <c:v>153.75806451612902</c:v>
                </c:pt>
                <c:pt idx="6">
                  <c:v>165.45833333333334</c:v>
                </c:pt>
                <c:pt idx="7">
                  <c:v>164.70161290322579</c:v>
                </c:pt>
                <c:pt idx="8">
                  <c:v>186.75</c:v>
                </c:pt>
                <c:pt idx="9">
                  <c:v>195.90625</c:v>
                </c:pt>
                <c:pt idx="10">
                  <c:v>222.3515625</c:v>
                </c:pt>
                <c:pt idx="11">
                  <c:v>386.04838709677421</c:v>
                </c:pt>
                <c:pt idx="12">
                  <c:v>252.458333333333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B-A337-47C8-B5D2-C7739461B3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863670280"/>
        <c:axId val="1"/>
      </c:barChart>
      <c:catAx>
        <c:axId val="186367028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00"/>
          <c:min val="15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863670280"/>
        <c:crosses val="min"/>
        <c:crossBetween val="between"/>
        <c:majorUnit val="50"/>
      </c:valAx>
    </c:plotArea>
    <c:plotVisOnly val="0"/>
    <c:dispBlanksAs val="gap"/>
    <c:showDLblsOverMax val="1"/>
  </c:chart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dk2" tx2="lt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3.5299581978634462E-2"/>
          <c:y val="0.10218340611353711"/>
          <c:w val="0.95664963616658927"/>
          <c:h val="0.7956331877729258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458515283842794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500-470A-BB79-63618D2F3B1D}"/>
                </c:ext>
              </c:extLst>
            </c:dLbl>
            <c:dLbl>
              <c:idx val="1"/>
              <c:layout>
                <c:manualLayout>
                  <c:x val="0"/>
                  <c:y val="-0.1772925764192139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500-470A-BB79-63618D2F3B1D}"/>
                </c:ext>
              </c:extLst>
            </c:dLbl>
            <c:dLbl>
              <c:idx val="2"/>
              <c:layout>
                <c:manualLayout>
                  <c:x val="0"/>
                  <c:y val="-0.1231441048034934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5500-470A-BB79-63618D2F3B1D}"/>
                </c:ext>
              </c:extLst>
            </c:dLbl>
            <c:dLbl>
              <c:idx val="3"/>
              <c:layout>
                <c:manualLayout>
                  <c:x val="0"/>
                  <c:y val="-9.60698689956331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5500-470A-BB79-63618D2F3B1D}"/>
                </c:ext>
              </c:extLst>
            </c:dLbl>
            <c:dLbl>
              <c:idx val="4"/>
              <c:layout>
                <c:manualLayout>
                  <c:x val="0"/>
                  <c:y val="-0.1013100436681222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5500-470A-BB79-63618D2F3B1D}"/>
                </c:ext>
              </c:extLst>
            </c:dLbl>
            <c:dLbl>
              <c:idx val="5"/>
              <c:layout>
                <c:manualLayout>
                  <c:x val="0"/>
                  <c:y val="-3.930131004366812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5500-470A-BB79-63618D2F3B1D}"/>
                </c:ext>
              </c:extLst>
            </c:dLbl>
            <c:dLbl>
              <c:idx val="6"/>
              <c:layout>
                <c:manualLayout>
                  <c:x val="0"/>
                  <c:y val="-6.200873362445415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5500-470A-BB79-63618D2F3B1D}"/>
                </c:ext>
              </c:extLst>
            </c:dLbl>
            <c:dLbl>
              <c:idx val="7"/>
              <c:layout>
                <c:manualLayout>
                  <c:x val="0"/>
                  <c:y val="-0.1030567685589519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5500-470A-BB79-63618D2F3B1D}"/>
                </c:ext>
              </c:extLst>
            </c:dLbl>
            <c:dLbl>
              <c:idx val="8"/>
              <c:layout>
                <c:manualLayout>
                  <c:x val="0"/>
                  <c:y val="-8.209606986899563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5500-470A-BB79-63618D2F3B1D}"/>
                </c:ext>
              </c:extLst>
            </c:dLbl>
            <c:dLbl>
              <c:idx val="9"/>
              <c:layout>
                <c:manualLayout>
                  <c:x val="0"/>
                  <c:y val="-9.34497816593886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5500-470A-BB79-63618D2F3B1D}"/>
                </c:ext>
              </c:extLst>
            </c:dLbl>
            <c:dLbl>
              <c:idx val="10"/>
              <c:layout>
                <c:manualLayout>
                  <c:x val="0"/>
                  <c:y val="-0.1475982532751091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5500-470A-BB79-63618D2F3B1D}"/>
                </c:ext>
              </c:extLst>
            </c:dLbl>
            <c:dLbl>
              <c:idx val="11"/>
              <c:layout>
                <c:manualLayout>
                  <c:x val="0"/>
                  <c:y val="-0.3825327510917030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5500-470A-BB79-63618D2F3B1D}"/>
                </c:ext>
              </c:extLst>
            </c:dLbl>
            <c:dLbl>
              <c:idx val="12"/>
              <c:layout>
                <c:manualLayout>
                  <c:x val="0"/>
                  <c:y val="-0.1938864628820960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5500-470A-BB79-63618D2F3B1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M$1</c:f>
              <c:numCache>
                <c:formatCode>General</c:formatCode>
                <c:ptCount val="13"/>
                <c:pt idx="0">
                  <c:v>211.5595238095238</c:v>
                </c:pt>
                <c:pt idx="1">
                  <c:v>231.63671875</c:v>
                </c:pt>
                <c:pt idx="2">
                  <c:v>197.32307692307691</c:v>
                </c:pt>
                <c:pt idx="3">
                  <c:v>185.9296875</c:v>
                </c:pt>
                <c:pt idx="4">
                  <c:v>187.5873015873016</c:v>
                </c:pt>
                <c:pt idx="5">
                  <c:v>167.99206349206349</c:v>
                </c:pt>
                <c:pt idx="6">
                  <c:v>175.34126984126985</c:v>
                </c:pt>
                <c:pt idx="7">
                  <c:v>188.27734375</c:v>
                </c:pt>
                <c:pt idx="8">
                  <c:v>181.55769230769232</c:v>
                </c:pt>
                <c:pt idx="9">
                  <c:v>185.09126984126985</c:v>
                </c:pt>
                <c:pt idx="10">
                  <c:v>212.27777777777777</c:v>
                </c:pt>
                <c:pt idx="11">
                  <c:v>360.16269841269843</c:v>
                </c:pt>
                <c:pt idx="12">
                  <c:v>241.682539682539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5500-470A-BB79-63618D2F3B1D}"/>
            </c:ext>
          </c:extLst>
        </c:ser>
        <c:ser>
          <c:idx val="1"/>
          <c:order val="1"/>
          <c:spPr>
            <a:solidFill>
              <a:schemeClr val="accent4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082969432314410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5500-470A-BB79-63618D2F3B1D}"/>
                </c:ext>
              </c:extLst>
            </c:dLbl>
            <c:dLbl>
              <c:idx val="1"/>
              <c:layout>
                <c:manualLayout>
                  <c:x val="0"/>
                  <c:y val="-0.2253275109170305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5500-470A-BB79-63618D2F3B1D}"/>
                </c:ext>
              </c:extLst>
            </c:dLbl>
            <c:dLbl>
              <c:idx val="2"/>
              <c:layout>
                <c:manualLayout>
                  <c:x val="0"/>
                  <c:y val="-0.1196506550218340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5500-470A-BB79-63618D2F3B1D}"/>
                </c:ext>
              </c:extLst>
            </c:dLbl>
            <c:dLbl>
              <c:idx val="3"/>
              <c:layout>
                <c:manualLayout>
                  <c:x val="0"/>
                  <c:y val="-1.48471615720524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5500-470A-BB79-63618D2F3B1D}"/>
                </c:ext>
              </c:extLst>
            </c:dLbl>
            <c:dLbl>
              <c:idx val="4"/>
              <c:layout>
                <c:manualLayout>
                  <c:x val="0"/>
                  <c:y val="-6.28820960698689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5500-470A-BB79-63618D2F3B1D}"/>
                </c:ext>
              </c:extLst>
            </c:dLbl>
            <c:dLbl>
              <c:idx val="5"/>
              <c:layout>
                <c:manualLayout>
                  <c:x val="0"/>
                  <c:y val="-1.746724890829694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5500-470A-BB79-63618D2F3B1D}"/>
                </c:ext>
              </c:extLst>
            </c:dLbl>
            <c:dLbl>
              <c:idx val="6"/>
              <c:layout>
                <c:manualLayout>
                  <c:x val="0"/>
                  <c:y val="-2.358078602620087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5500-470A-BB79-63618D2F3B1D}"/>
                </c:ext>
              </c:extLst>
            </c:dLbl>
            <c:dLbl>
              <c:idx val="7"/>
              <c:layout>
                <c:manualLayout>
                  <c:x val="0"/>
                  <c:y val="-0.1301310043668122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5500-470A-BB79-63618D2F3B1D}"/>
                </c:ext>
              </c:extLst>
            </c:dLbl>
            <c:dLbl>
              <c:idx val="8"/>
              <c:layout>
                <c:manualLayout>
                  <c:x val="0"/>
                  <c:y val="-6.462882096069869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5500-470A-BB79-63618D2F3B1D}"/>
                </c:ext>
              </c:extLst>
            </c:dLbl>
            <c:dLbl>
              <c:idx val="9"/>
              <c:layout>
                <c:manualLayout>
                  <c:x val="0"/>
                  <c:y val="-0.1266375545851528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5500-470A-BB79-63618D2F3B1D}"/>
                </c:ext>
              </c:extLst>
            </c:dLbl>
            <c:dLbl>
              <c:idx val="10"/>
              <c:layout>
                <c:manualLayout>
                  <c:x val="0"/>
                  <c:y val="-0.2296943231441048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5500-470A-BB79-63618D2F3B1D}"/>
                </c:ext>
              </c:extLst>
            </c:dLbl>
            <c:dLbl>
              <c:idx val="11"/>
              <c:layout>
                <c:manualLayout>
                  <c:x val="0"/>
                  <c:y val="-0.3572052401746724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5500-470A-BB79-63618D2F3B1D}"/>
                </c:ext>
              </c:extLst>
            </c:dLbl>
            <c:dLbl>
              <c:idx val="12"/>
              <c:layout>
                <c:manualLayout>
                  <c:x val="0"/>
                  <c:y val="-0.1851528384279476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5500-470A-BB79-63618D2F3B1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M$2</c:f>
              <c:numCache>
                <c:formatCode>General</c:formatCode>
                <c:ptCount val="13"/>
                <c:pt idx="0">
                  <c:v>189.92361111111111</c:v>
                </c:pt>
                <c:pt idx="1">
                  <c:v>261.52702702702703</c:v>
                </c:pt>
                <c:pt idx="2">
                  <c:v>195.37162162162161</c:v>
                </c:pt>
                <c:pt idx="3">
                  <c:v>160.31081081081081</c:v>
                </c:pt>
                <c:pt idx="4">
                  <c:v>175.51388888888889</c:v>
                </c:pt>
                <c:pt idx="5">
                  <c:v>161.15277777777777</c:v>
                </c:pt>
                <c:pt idx="6">
                  <c:v>163.27702702702703</c:v>
                </c:pt>
                <c:pt idx="7">
                  <c:v>201.25675675675674</c:v>
                </c:pt>
                <c:pt idx="8">
                  <c:v>176.04729729729729</c:v>
                </c:pt>
                <c:pt idx="9">
                  <c:v>199.50694444444446</c:v>
                </c:pt>
                <c:pt idx="10">
                  <c:v>264.09285714285716</c:v>
                </c:pt>
                <c:pt idx="11">
                  <c:v>344.40972222222223</c:v>
                </c:pt>
                <c:pt idx="12">
                  <c:v>236.270270270270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B-5500-470A-BB79-63618D2F3B1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869369096"/>
        <c:axId val="1"/>
      </c:barChart>
      <c:catAx>
        <c:axId val="186936909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00"/>
          <c:min val="15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869369096"/>
        <c:crosses val="min"/>
        <c:crossBetween val="between"/>
        <c:majorUnit val="50"/>
      </c:valAx>
    </c:plotArea>
    <c:plotVisOnly val="0"/>
    <c:dispBlanksAs val="gap"/>
    <c:showDLblsOverMax val="1"/>
  </c:chart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dk2" tx2="lt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3.5299581978634462E-2"/>
          <c:y val="7.3170731707317069E-2"/>
          <c:w val="0.95664963616658927"/>
          <c:h val="0.87398373983739841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454381210478771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147-499D-B7ED-C022412DED0C}"/>
                </c:ext>
              </c:extLst>
            </c:dLbl>
            <c:dLbl>
              <c:idx val="1"/>
              <c:layout>
                <c:manualLayout>
                  <c:x val="0"/>
                  <c:y val="-0.1540198735320686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147-499D-B7ED-C022412DED0C}"/>
                </c:ext>
              </c:extLst>
            </c:dLbl>
            <c:dLbl>
              <c:idx val="2"/>
              <c:layout>
                <c:manualLayout>
                  <c:x val="0"/>
                  <c:y val="-0.1264679313459801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147-499D-B7ED-C022412DED0C}"/>
                </c:ext>
              </c:extLst>
            </c:dLbl>
            <c:dLbl>
              <c:idx val="3"/>
              <c:layout>
                <c:manualLayout>
                  <c:x val="0"/>
                  <c:y val="-9.43992773261065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147-499D-B7ED-C022412DED0C}"/>
                </c:ext>
              </c:extLst>
            </c:dLbl>
            <c:dLbl>
              <c:idx val="4"/>
              <c:layout>
                <c:manualLayout>
                  <c:x val="0"/>
                  <c:y val="-8.626919602529359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E147-499D-B7ED-C022412DED0C}"/>
                </c:ext>
              </c:extLst>
            </c:dLbl>
            <c:dLbl>
              <c:idx val="5"/>
              <c:layout>
                <c:manualLayout>
                  <c:x val="0"/>
                  <c:y val="-2.800361336946702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E147-499D-B7ED-C022412DED0C}"/>
                </c:ext>
              </c:extLst>
            </c:dLbl>
            <c:dLbl>
              <c:idx val="6"/>
              <c:layout>
                <c:manualLayout>
                  <c:x val="0"/>
                  <c:y val="-5.691056910569105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E147-499D-B7ED-C022412DED0C}"/>
                </c:ext>
              </c:extLst>
            </c:dLbl>
            <c:dLbl>
              <c:idx val="7"/>
              <c:layout>
                <c:manualLayout>
                  <c:x val="0"/>
                  <c:y val="-7.317073170731706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E147-499D-B7ED-C022412DED0C}"/>
                </c:ext>
              </c:extLst>
            </c:dLbl>
            <c:dLbl>
              <c:idx val="8"/>
              <c:layout>
                <c:manualLayout>
                  <c:x val="0"/>
                  <c:y val="-7.181571815718157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E147-499D-B7ED-C022412DED0C}"/>
                </c:ext>
              </c:extLst>
            </c:dLbl>
            <c:dLbl>
              <c:idx val="9"/>
              <c:layout>
                <c:manualLayout>
                  <c:x val="0"/>
                  <c:y val="-8.401084010840108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E147-499D-B7ED-C022412DED0C}"/>
                </c:ext>
              </c:extLst>
            </c:dLbl>
            <c:dLbl>
              <c:idx val="10"/>
              <c:layout>
                <c:manualLayout>
                  <c:x val="0"/>
                  <c:y val="-0.1377597109304426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E147-499D-B7ED-C022412DED0C}"/>
                </c:ext>
              </c:extLst>
            </c:dLbl>
            <c:dLbl>
              <c:idx val="11"/>
              <c:layout>
                <c:manualLayout>
                  <c:x val="0"/>
                  <c:y val="-0.4598012646793134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E147-499D-B7ED-C022412DED0C}"/>
                </c:ext>
              </c:extLst>
            </c:dLbl>
            <c:dLbl>
              <c:idx val="12"/>
              <c:layout>
                <c:manualLayout>
                  <c:x val="0"/>
                  <c:y val="-0.2308039747064137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E147-499D-B7ED-C022412DED0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M$1</c:f>
              <c:numCache>
                <c:formatCode>General</c:formatCode>
                <c:ptCount val="13"/>
                <c:pt idx="0">
                  <c:v>212.54098360655738</c:v>
                </c:pt>
                <c:pt idx="1">
                  <c:v>216.20362903225808</c:v>
                </c:pt>
                <c:pt idx="2">
                  <c:v>204.33266129032259</c:v>
                </c:pt>
                <c:pt idx="3">
                  <c:v>190.21875</c:v>
                </c:pt>
                <c:pt idx="4">
                  <c:v>186.68852459016392</c:v>
                </c:pt>
                <c:pt idx="5">
                  <c:v>168.16666666666666</c:v>
                </c:pt>
                <c:pt idx="6">
                  <c:v>174.42276422764229</c:v>
                </c:pt>
                <c:pt idx="7">
                  <c:v>180.99798387096774</c:v>
                </c:pt>
                <c:pt idx="8">
                  <c:v>180.30846774193549</c:v>
                </c:pt>
                <c:pt idx="9">
                  <c:v>185.85772357723576</c:v>
                </c:pt>
                <c:pt idx="10">
                  <c:v>209.19672131147541</c:v>
                </c:pt>
                <c:pt idx="11">
                  <c:v>349.10040983606558</c:v>
                </c:pt>
                <c:pt idx="12">
                  <c:v>249.68902439024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E147-499D-B7ED-C022412DED0C}"/>
            </c:ext>
          </c:extLst>
        </c:ser>
        <c:ser>
          <c:idx val="1"/>
          <c:order val="1"/>
          <c:spPr>
            <a:solidFill>
              <a:schemeClr val="accent4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9.394760614272809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E147-499D-B7ED-C022412DED0C}"/>
                </c:ext>
              </c:extLst>
            </c:dLbl>
            <c:dLbl>
              <c:idx val="1"/>
              <c:layout>
                <c:manualLayout>
                  <c:x val="0"/>
                  <c:y val="-0.2583559168925022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E147-499D-B7ED-C022412DED0C}"/>
                </c:ext>
              </c:extLst>
            </c:dLbl>
            <c:dLbl>
              <c:idx val="2"/>
              <c:layout>
                <c:manualLayout>
                  <c:x val="0"/>
                  <c:y val="-0.1061427280939476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E147-499D-B7ED-C022412DED0C}"/>
                </c:ext>
              </c:extLst>
            </c:dLbl>
            <c:dLbl>
              <c:idx val="3"/>
              <c:layout>
                <c:manualLayout>
                  <c:x val="0"/>
                  <c:y val="8.13008130081300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E147-499D-B7ED-C022412DED0C}"/>
                </c:ext>
              </c:extLst>
            </c:dLbl>
            <c:dLbl>
              <c:idx val="4"/>
              <c:layout>
                <c:manualLayout>
                  <c:x val="0"/>
                  <c:y val="-6.052393857271905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E147-499D-B7ED-C022412DED0C}"/>
                </c:ext>
              </c:extLst>
            </c:dLbl>
            <c:dLbl>
              <c:idx val="5"/>
              <c:layout>
                <c:manualLayout>
                  <c:x val="0"/>
                  <c:y val="4.065040650406504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E147-499D-B7ED-C022412DED0C}"/>
                </c:ext>
              </c:extLst>
            </c:dLbl>
            <c:dLbl>
              <c:idx val="6"/>
              <c:layout>
                <c:manualLayout>
                  <c:x val="0"/>
                  <c:y val="-5.420054200542005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E147-499D-B7ED-C022412DED0C}"/>
                </c:ext>
              </c:extLst>
            </c:dLbl>
            <c:dLbl>
              <c:idx val="7"/>
              <c:layout>
                <c:manualLayout>
                  <c:x val="0"/>
                  <c:y val="-0.1196928635953026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E147-499D-B7ED-C022412DED0C}"/>
                </c:ext>
              </c:extLst>
            </c:dLbl>
            <c:dLbl>
              <c:idx val="8"/>
              <c:layout>
                <c:manualLayout>
                  <c:x val="0"/>
                  <c:y val="-6.14272809394760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E147-499D-B7ED-C022412DED0C}"/>
                </c:ext>
              </c:extLst>
            </c:dLbl>
            <c:dLbl>
              <c:idx val="9"/>
              <c:layout>
                <c:manualLayout>
                  <c:x val="0"/>
                  <c:y val="-0.1156278229448961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E147-499D-B7ED-C022412DED0C}"/>
                </c:ext>
              </c:extLst>
            </c:dLbl>
            <c:dLbl>
              <c:idx val="10"/>
              <c:layout>
                <c:manualLayout>
                  <c:x val="0"/>
                  <c:y val="-0.2642276422764227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E147-499D-B7ED-C022412DED0C}"/>
                </c:ext>
              </c:extLst>
            </c:dLbl>
            <c:dLbl>
              <c:idx val="11"/>
              <c:layout>
                <c:manualLayout>
                  <c:x val="0"/>
                  <c:y val="-0.4489611562782294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E147-499D-B7ED-C022412DED0C}"/>
                </c:ext>
              </c:extLst>
            </c:dLbl>
            <c:dLbl>
              <c:idx val="12"/>
              <c:layout>
                <c:manualLayout>
                  <c:x val="0"/>
                  <c:y val="-0.2005420054200542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E147-499D-B7ED-C022412DED0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M$2</c:f>
              <c:numCache>
                <c:formatCode>General</c:formatCode>
                <c:ptCount val="13"/>
                <c:pt idx="0">
                  <c:v>189.92361111111111</c:v>
                </c:pt>
                <c:pt idx="1">
                  <c:v>261.52702702702703</c:v>
                </c:pt>
                <c:pt idx="2">
                  <c:v>195.37162162162161</c:v>
                </c:pt>
                <c:pt idx="3">
                  <c:v>160.31081081081081</c:v>
                </c:pt>
                <c:pt idx="4">
                  <c:v>175.51388888888889</c:v>
                </c:pt>
                <c:pt idx="5">
                  <c:v>161.15277777777777</c:v>
                </c:pt>
                <c:pt idx="6">
                  <c:v>163.27702702702703</c:v>
                </c:pt>
                <c:pt idx="7">
                  <c:v>201.25675675675674</c:v>
                </c:pt>
                <c:pt idx="8">
                  <c:v>176.04729729729729</c:v>
                </c:pt>
                <c:pt idx="9">
                  <c:v>199.50694444444446</c:v>
                </c:pt>
                <c:pt idx="10">
                  <c:v>264.09285714285716</c:v>
                </c:pt>
                <c:pt idx="11">
                  <c:v>344.40972222222223</c:v>
                </c:pt>
                <c:pt idx="12">
                  <c:v>236.270270270270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B-E147-499D-B7ED-C022412DED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779238632"/>
        <c:axId val="1"/>
      </c:barChart>
      <c:catAx>
        <c:axId val="177923863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50"/>
          <c:min val="16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779238632"/>
        <c:crosses val="min"/>
        <c:crossBetween val="between"/>
        <c:majorUnit val="10"/>
      </c:valAx>
    </c:plotArea>
    <c:plotVisOnly val="0"/>
    <c:dispBlanksAs val="gap"/>
    <c:showDLblsOverMax val="1"/>
  </c:chart>
  <c:externalData r:id="rId2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E3472C-B63C-4EBB-9224-91635608D541}" type="datetimeFigureOut">
              <a:rPr lang="en-GB" smtClean="0"/>
              <a:t>13/12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8150" y="1233488"/>
            <a:ext cx="5921375" cy="3332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51219"/>
            <a:ext cx="5438140" cy="38873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7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7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532C2B-B028-498B-8D58-C12B7B7BEEB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21071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F532C2B-B028-498B-8D58-C12B7B7BEEBA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031112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7.emf"/><Relationship Id="rId4" Type="http://schemas.openxmlformats.org/officeDocument/2006/relationships/image" Target="../media/image15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1.emf"/><Relationship Id="rId4" Type="http://schemas.openxmlformats.org/officeDocument/2006/relationships/image" Target="../media/image13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1.emf"/><Relationship Id="rId4" Type="http://schemas.openxmlformats.org/officeDocument/2006/relationships/image" Target="../media/image13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1.emf"/><Relationship Id="rId4" Type="http://schemas.openxmlformats.org/officeDocument/2006/relationships/image" Target="../media/image13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6" Type="http://schemas.microsoft.com/office/2007/relationships/hdphoto" Target="../media/hdphoto1.wdp"/><Relationship Id="rId5" Type="http://schemas.openxmlformats.org/officeDocument/2006/relationships/image" Target="../media/image24.png"/><Relationship Id="rId4" Type="http://schemas.openxmlformats.org/officeDocument/2006/relationships/image" Target="../media/image13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8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6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7.emf"/><Relationship Id="rId4" Type="http://schemas.openxmlformats.org/officeDocument/2006/relationships/image" Target="../media/image15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1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1.emf"/><Relationship Id="rId4" Type="http://schemas.openxmlformats.org/officeDocument/2006/relationships/image" Target="../media/image13.pn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1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1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. Cover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EAEEFA-ECE7-4BC4-8602-E9873380B4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1833926"/>
            <a:ext cx="4562856" cy="1234440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/>
              <a:t>Tit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9331859-061F-4FAF-8C7C-00A07BA52B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04800" y="6305406"/>
            <a:ext cx="4114800" cy="243618"/>
          </a:xfrm>
        </p:spPr>
        <p:txBody>
          <a:bodyPr/>
          <a:lstStyle>
            <a:lvl1pPr algn="l">
              <a:defRPr/>
            </a:lvl1pPr>
          </a:lstStyle>
          <a:p>
            <a:pPr algn="l"/>
            <a:r>
              <a:rPr lang="en-GB"/>
              <a:t>CLASSIFICATION: Internal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71D1E8-96EC-4327-84D7-EE219D5AB9C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219C47F3-E74D-462A-9E9A-E7164C68AF7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C98747EC-11C2-486D-A172-D2A3DA7C322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1"/>
            <a:ext cx="2839184" cy="1231496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0881F4D-935B-47DB-86E8-8DDD545626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3241040"/>
            <a:ext cx="4562475" cy="1261872"/>
          </a:xfrm>
        </p:spPr>
        <p:txBody>
          <a:bodyPr/>
          <a:lstStyle>
            <a:lvl1pPr>
              <a:defRPr sz="2800"/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US"/>
              <a:t>Subtitle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2CF140B-D995-4687-8C29-3E77359795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5024074"/>
            <a:ext cx="4562475" cy="2743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Date</a:t>
            </a:r>
            <a:endParaRPr lang="en-GB"/>
          </a:p>
        </p:txBody>
      </p:sp>
      <p:pic>
        <p:nvPicPr>
          <p:cNvPr id="11" name="Picture 10" descr="A picture containing grass, green, standing, person&#10;&#10;Description automatically generated">
            <a:extLst>
              <a:ext uri="{FF2B5EF4-FFF2-40B4-BE49-F238E27FC236}">
                <a16:creationId xmlns:a16="http://schemas.microsoft.com/office/drawing/2014/main" id="{942E73D3-5ED0-4D0B-A502-394F74B4A9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89724" y="304801"/>
            <a:ext cx="6197476" cy="6248400"/>
          </a:xfrm>
          <a:prstGeom prst="rect">
            <a:avLst/>
          </a:prstGeom>
        </p:spPr>
      </p:pic>
      <p:grpSp>
        <p:nvGrpSpPr>
          <p:cNvPr id="442" name="Group 441">
            <a:extLst>
              <a:ext uri="{FF2B5EF4-FFF2-40B4-BE49-F238E27FC236}">
                <a16:creationId xmlns:a16="http://schemas.microsoft.com/office/drawing/2014/main" id="{047EF41F-2E73-4658-B114-C550C39C5ABB}"/>
              </a:ext>
            </a:extLst>
          </p:cNvPr>
          <p:cNvGrpSpPr/>
          <p:nvPr userDrawn="1"/>
        </p:nvGrpSpPr>
        <p:grpSpPr>
          <a:xfrm>
            <a:off x="5689725" y="2840173"/>
            <a:ext cx="6197476" cy="3719175"/>
            <a:chOff x="12872813" y="2840174"/>
            <a:chExt cx="6197477" cy="3719176"/>
          </a:xfrm>
        </p:grpSpPr>
        <p:sp>
          <p:nvSpPr>
            <p:cNvPr id="443" name="Freeform: Shape 442">
              <a:extLst>
                <a:ext uri="{FF2B5EF4-FFF2-40B4-BE49-F238E27FC236}">
                  <a16:creationId xmlns:a16="http://schemas.microsoft.com/office/drawing/2014/main" id="{1C7C10C1-0CD3-4890-8D76-FD81833BD5B8}"/>
                </a:ext>
              </a:extLst>
            </p:cNvPr>
            <p:cNvSpPr/>
            <p:nvPr/>
          </p:nvSpPr>
          <p:spPr>
            <a:xfrm>
              <a:off x="12872813" y="5939688"/>
              <a:ext cx="619662" cy="619659"/>
            </a:xfrm>
            <a:custGeom>
              <a:avLst/>
              <a:gdLst>
                <a:gd name="connsiteX0" fmla="*/ 0 w 275909"/>
                <a:gd name="connsiteY0" fmla="*/ 0 h 275908"/>
                <a:gd name="connsiteX1" fmla="*/ 0 w 275909"/>
                <a:gd name="connsiteY1" fmla="*/ 0 h 275908"/>
                <a:gd name="connsiteX2" fmla="*/ 275909 w 275909"/>
                <a:gd name="connsiteY2" fmla="*/ 275909 h 275908"/>
                <a:gd name="connsiteX3" fmla="*/ 275909 w 275909"/>
                <a:gd name="connsiteY3" fmla="*/ 275909 h 275908"/>
                <a:gd name="connsiteX4" fmla="*/ 0 w 275909"/>
                <a:gd name="connsiteY4" fmla="*/ 0 h 275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5909" h="275908">
                  <a:moveTo>
                    <a:pt x="0" y="0"/>
                  </a:moveTo>
                  <a:lnTo>
                    <a:pt x="0" y="0"/>
                  </a:lnTo>
                  <a:cubicBezTo>
                    <a:pt x="152379" y="0"/>
                    <a:pt x="275909" y="123530"/>
                    <a:pt x="275909" y="275909"/>
                  </a:cubicBezTo>
                  <a:lnTo>
                    <a:pt x="275909" y="275909"/>
                  </a:lnTo>
                  <a:cubicBezTo>
                    <a:pt x="123530" y="275909"/>
                    <a:pt x="0" y="152379"/>
                    <a:pt x="0" y="0"/>
                  </a:cubicBezTo>
                </a:path>
              </a:pathLst>
            </a:custGeom>
            <a:solidFill>
              <a:schemeClr val="bg1"/>
            </a:solidFill>
            <a:ln w="7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4" name="Freeform: Shape 443">
              <a:extLst>
                <a:ext uri="{FF2B5EF4-FFF2-40B4-BE49-F238E27FC236}">
                  <a16:creationId xmlns:a16="http://schemas.microsoft.com/office/drawing/2014/main" id="{768E0E67-12BA-480A-9BE3-5F0F28FC7BC9}"/>
                </a:ext>
              </a:extLst>
            </p:cNvPr>
            <p:cNvSpPr/>
            <p:nvPr/>
          </p:nvSpPr>
          <p:spPr>
            <a:xfrm>
              <a:off x="12872813" y="5318991"/>
              <a:ext cx="619662" cy="620695"/>
            </a:xfrm>
            <a:custGeom>
              <a:avLst/>
              <a:gdLst>
                <a:gd name="connsiteX0" fmla="*/ 275909 w 275909"/>
                <a:gd name="connsiteY0" fmla="*/ 0 h 276369"/>
                <a:gd name="connsiteX1" fmla="*/ 275909 w 275909"/>
                <a:gd name="connsiteY1" fmla="*/ 0 h 276369"/>
                <a:gd name="connsiteX2" fmla="*/ 0 w 275909"/>
                <a:gd name="connsiteY2" fmla="*/ 276370 h 276369"/>
                <a:gd name="connsiteX3" fmla="*/ 0 w 275909"/>
                <a:gd name="connsiteY3" fmla="*/ 276370 h 276369"/>
                <a:gd name="connsiteX4" fmla="*/ 275909 w 275909"/>
                <a:gd name="connsiteY4" fmla="*/ 461 h 276369"/>
                <a:gd name="connsiteX5" fmla="*/ 275909 w 275909"/>
                <a:gd name="connsiteY5" fmla="*/ 0 h 276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5909" h="276369">
                  <a:moveTo>
                    <a:pt x="275909" y="0"/>
                  </a:moveTo>
                  <a:lnTo>
                    <a:pt x="275909" y="0"/>
                  </a:lnTo>
                  <a:cubicBezTo>
                    <a:pt x="123453" y="253"/>
                    <a:pt x="0" y="123913"/>
                    <a:pt x="0" y="276370"/>
                  </a:cubicBezTo>
                  <a:lnTo>
                    <a:pt x="0" y="276370"/>
                  </a:lnTo>
                  <a:cubicBezTo>
                    <a:pt x="152379" y="276370"/>
                    <a:pt x="275909" y="152840"/>
                    <a:pt x="275909" y="461"/>
                  </a:cubicBezTo>
                  <a:cubicBezTo>
                    <a:pt x="275909" y="307"/>
                    <a:pt x="275909" y="154"/>
                    <a:pt x="275909" y="0"/>
                  </a:cubicBezTo>
                </a:path>
              </a:pathLst>
            </a:custGeom>
            <a:solidFill>
              <a:schemeClr val="bg1"/>
            </a:solidFill>
            <a:ln w="7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5" name="Freeform: Shape 444">
              <a:extLst>
                <a:ext uri="{FF2B5EF4-FFF2-40B4-BE49-F238E27FC236}">
                  <a16:creationId xmlns:a16="http://schemas.microsoft.com/office/drawing/2014/main" id="{DDA7EB32-4ADE-4444-BFDD-A17783FF4400}"/>
                </a:ext>
              </a:extLst>
            </p:cNvPr>
            <p:cNvSpPr/>
            <p:nvPr/>
          </p:nvSpPr>
          <p:spPr>
            <a:xfrm>
              <a:off x="13491612" y="5939688"/>
              <a:ext cx="620695" cy="619662"/>
            </a:xfrm>
            <a:custGeom>
              <a:avLst/>
              <a:gdLst>
                <a:gd name="connsiteX0" fmla="*/ 276370 w 276369"/>
                <a:gd name="connsiteY0" fmla="*/ 0 h 275909"/>
                <a:gd name="connsiteX1" fmla="*/ 276370 w 276369"/>
                <a:gd name="connsiteY1" fmla="*/ 0 h 275909"/>
                <a:gd name="connsiteX2" fmla="*/ 0 w 276369"/>
                <a:gd name="connsiteY2" fmla="*/ 275449 h 275909"/>
                <a:gd name="connsiteX3" fmla="*/ 0 w 276369"/>
                <a:gd name="connsiteY3" fmla="*/ 275909 h 275909"/>
                <a:gd name="connsiteX4" fmla="*/ 0 w 276369"/>
                <a:gd name="connsiteY4" fmla="*/ 275909 h 275909"/>
                <a:gd name="connsiteX5" fmla="*/ 276370 w 276369"/>
                <a:gd name="connsiteY5" fmla="*/ 0 h 275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6369" h="275909">
                  <a:moveTo>
                    <a:pt x="276370" y="0"/>
                  </a:moveTo>
                  <a:lnTo>
                    <a:pt x="276370" y="0"/>
                  </a:lnTo>
                  <a:cubicBezTo>
                    <a:pt x="123990" y="-253"/>
                    <a:pt x="253" y="123069"/>
                    <a:pt x="0" y="275449"/>
                  </a:cubicBezTo>
                  <a:cubicBezTo>
                    <a:pt x="0" y="275602"/>
                    <a:pt x="0" y="275756"/>
                    <a:pt x="0" y="275909"/>
                  </a:cubicBezTo>
                  <a:lnTo>
                    <a:pt x="0" y="275909"/>
                  </a:lnTo>
                  <a:cubicBezTo>
                    <a:pt x="152456" y="275909"/>
                    <a:pt x="276116" y="152457"/>
                    <a:pt x="276370" y="0"/>
                  </a:cubicBezTo>
                </a:path>
              </a:pathLst>
            </a:custGeom>
            <a:solidFill>
              <a:schemeClr val="bg1"/>
            </a:solidFill>
            <a:ln w="7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6" name="Freeform: Shape 445">
              <a:extLst>
                <a:ext uri="{FF2B5EF4-FFF2-40B4-BE49-F238E27FC236}">
                  <a16:creationId xmlns:a16="http://schemas.microsoft.com/office/drawing/2014/main" id="{6BF00BB0-9BBB-4CCC-A3B6-9848EB92997C}"/>
                </a:ext>
              </a:extLst>
            </p:cNvPr>
            <p:cNvSpPr/>
            <p:nvPr/>
          </p:nvSpPr>
          <p:spPr>
            <a:xfrm>
              <a:off x="13492475" y="5318991"/>
              <a:ext cx="620695" cy="620695"/>
            </a:xfrm>
            <a:custGeom>
              <a:avLst/>
              <a:gdLst>
                <a:gd name="connsiteX0" fmla="*/ 0 w 276369"/>
                <a:gd name="connsiteY0" fmla="*/ 0 h 276369"/>
                <a:gd name="connsiteX1" fmla="*/ 0 w 276369"/>
                <a:gd name="connsiteY1" fmla="*/ 0 h 276369"/>
                <a:gd name="connsiteX2" fmla="*/ 276370 w 276369"/>
                <a:gd name="connsiteY2" fmla="*/ 276370 h 276369"/>
                <a:gd name="connsiteX3" fmla="*/ 276370 w 276369"/>
                <a:gd name="connsiteY3" fmla="*/ 276370 h 276369"/>
                <a:gd name="connsiteX4" fmla="*/ 0 w 276369"/>
                <a:gd name="connsiteY4" fmla="*/ 921 h 276369"/>
                <a:gd name="connsiteX5" fmla="*/ 0 w 276369"/>
                <a:gd name="connsiteY5" fmla="*/ 0 h 276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6369" h="276369">
                  <a:moveTo>
                    <a:pt x="0" y="0"/>
                  </a:moveTo>
                  <a:lnTo>
                    <a:pt x="0" y="0"/>
                  </a:lnTo>
                  <a:cubicBezTo>
                    <a:pt x="152633" y="0"/>
                    <a:pt x="276370" y="123737"/>
                    <a:pt x="276370" y="276370"/>
                  </a:cubicBezTo>
                  <a:lnTo>
                    <a:pt x="276370" y="276370"/>
                  </a:lnTo>
                  <a:cubicBezTo>
                    <a:pt x="123990" y="276623"/>
                    <a:pt x="253" y="153301"/>
                    <a:pt x="0" y="921"/>
                  </a:cubicBezTo>
                  <a:cubicBezTo>
                    <a:pt x="0" y="614"/>
                    <a:pt x="0" y="307"/>
                    <a:pt x="0" y="0"/>
                  </a:cubicBezTo>
                </a:path>
              </a:pathLst>
            </a:custGeom>
            <a:solidFill>
              <a:schemeClr val="bg1"/>
            </a:solidFill>
            <a:ln w="7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7" name="Freeform: Shape 446">
              <a:extLst>
                <a:ext uri="{FF2B5EF4-FFF2-40B4-BE49-F238E27FC236}">
                  <a16:creationId xmlns:a16="http://schemas.microsoft.com/office/drawing/2014/main" id="{586EEEA8-88AD-4628-92D0-3B28A5EBBB58}"/>
                </a:ext>
              </a:extLst>
            </p:cNvPr>
            <p:cNvSpPr/>
            <p:nvPr/>
          </p:nvSpPr>
          <p:spPr>
            <a:xfrm>
              <a:off x="14112309" y="5939688"/>
              <a:ext cx="619662" cy="619659"/>
            </a:xfrm>
            <a:custGeom>
              <a:avLst/>
              <a:gdLst>
                <a:gd name="connsiteX0" fmla="*/ 0 w 275909"/>
                <a:gd name="connsiteY0" fmla="*/ 0 h 275908"/>
                <a:gd name="connsiteX1" fmla="*/ 0 w 275909"/>
                <a:gd name="connsiteY1" fmla="*/ 0 h 275908"/>
                <a:gd name="connsiteX2" fmla="*/ 275909 w 275909"/>
                <a:gd name="connsiteY2" fmla="*/ 275909 h 275908"/>
                <a:gd name="connsiteX3" fmla="*/ 275909 w 275909"/>
                <a:gd name="connsiteY3" fmla="*/ 275909 h 275908"/>
                <a:gd name="connsiteX4" fmla="*/ 0 w 275909"/>
                <a:gd name="connsiteY4" fmla="*/ 0 h 275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5909" h="275908">
                  <a:moveTo>
                    <a:pt x="0" y="0"/>
                  </a:moveTo>
                  <a:lnTo>
                    <a:pt x="0" y="0"/>
                  </a:lnTo>
                  <a:cubicBezTo>
                    <a:pt x="152379" y="0"/>
                    <a:pt x="275909" y="123530"/>
                    <a:pt x="275909" y="275909"/>
                  </a:cubicBezTo>
                  <a:lnTo>
                    <a:pt x="275909" y="275909"/>
                  </a:lnTo>
                  <a:cubicBezTo>
                    <a:pt x="123530" y="275909"/>
                    <a:pt x="0" y="152379"/>
                    <a:pt x="0" y="0"/>
                  </a:cubicBezTo>
                </a:path>
              </a:pathLst>
            </a:custGeom>
            <a:solidFill>
              <a:schemeClr val="bg1"/>
            </a:solidFill>
            <a:ln w="7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8" name="Freeform: Shape 447">
              <a:extLst>
                <a:ext uri="{FF2B5EF4-FFF2-40B4-BE49-F238E27FC236}">
                  <a16:creationId xmlns:a16="http://schemas.microsoft.com/office/drawing/2014/main" id="{5379A22D-77A1-42B8-832C-8544952505AD}"/>
                </a:ext>
              </a:extLst>
            </p:cNvPr>
            <p:cNvSpPr/>
            <p:nvPr/>
          </p:nvSpPr>
          <p:spPr>
            <a:xfrm>
              <a:off x="14112309" y="5318991"/>
              <a:ext cx="619662" cy="620695"/>
            </a:xfrm>
            <a:custGeom>
              <a:avLst/>
              <a:gdLst>
                <a:gd name="connsiteX0" fmla="*/ 275909 w 275909"/>
                <a:gd name="connsiteY0" fmla="*/ 0 h 276369"/>
                <a:gd name="connsiteX1" fmla="*/ 275909 w 275909"/>
                <a:gd name="connsiteY1" fmla="*/ 0 h 276369"/>
                <a:gd name="connsiteX2" fmla="*/ 0 w 275909"/>
                <a:gd name="connsiteY2" fmla="*/ 276370 h 276369"/>
                <a:gd name="connsiteX3" fmla="*/ 0 w 275909"/>
                <a:gd name="connsiteY3" fmla="*/ 276370 h 276369"/>
                <a:gd name="connsiteX4" fmla="*/ 275909 w 275909"/>
                <a:gd name="connsiteY4" fmla="*/ 461 h 276369"/>
                <a:gd name="connsiteX5" fmla="*/ 275909 w 275909"/>
                <a:gd name="connsiteY5" fmla="*/ 0 h 276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5909" h="276369">
                  <a:moveTo>
                    <a:pt x="275909" y="0"/>
                  </a:moveTo>
                  <a:lnTo>
                    <a:pt x="275909" y="0"/>
                  </a:lnTo>
                  <a:cubicBezTo>
                    <a:pt x="123453" y="253"/>
                    <a:pt x="0" y="123913"/>
                    <a:pt x="0" y="276370"/>
                  </a:cubicBezTo>
                  <a:lnTo>
                    <a:pt x="0" y="276370"/>
                  </a:lnTo>
                  <a:cubicBezTo>
                    <a:pt x="152379" y="276370"/>
                    <a:pt x="275909" y="152840"/>
                    <a:pt x="275909" y="461"/>
                  </a:cubicBezTo>
                  <a:cubicBezTo>
                    <a:pt x="275909" y="307"/>
                    <a:pt x="275909" y="154"/>
                    <a:pt x="275909" y="0"/>
                  </a:cubicBezTo>
                </a:path>
              </a:pathLst>
            </a:custGeom>
            <a:solidFill>
              <a:schemeClr val="bg1"/>
            </a:solidFill>
            <a:ln w="7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9" name="Freeform: Shape 448">
              <a:extLst>
                <a:ext uri="{FF2B5EF4-FFF2-40B4-BE49-F238E27FC236}">
                  <a16:creationId xmlns:a16="http://schemas.microsoft.com/office/drawing/2014/main" id="{AEDB0CD0-61F2-480A-BB5A-31720D85E41B}"/>
                </a:ext>
              </a:extLst>
            </p:cNvPr>
            <p:cNvSpPr/>
            <p:nvPr/>
          </p:nvSpPr>
          <p:spPr>
            <a:xfrm>
              <a:off x="14731971" y="5939688"/>
              <a:ext cx="619832" cy="619662"/>
            </a:xfrm>
            <a:custGeom>
              <a:avLst/>
              <a:gdLst>
                <a:gd name="connsiteX0" fmla="*/ 275986 w 275985"/>
                <a:gd name="connsiteY0" fmla="*/ 0 h 275909"/>
                <a:gd name="connsiteX1" fmla="*/ 275986 w 275985"/>
                <a:gd name="connsiteY1" fmla="*/ 0 h 275909"/>
                <a:gd name="connsiteX2" fmla="*/ 0 w 275985"/>
                <a:gd name="connsiteY2" fmla="*/ 275832 h 275909"/>
                <a:gd name="connsiteX3" fmla="*/ 0 w 275985"/>
                <a:gd name="connsiteY3" fmla="*/ 275909 h 275909"/>
                <a:gd name="connsiteX4" fmla="*/ 0 w 275985"/>
                <a:gd name="connsiteY4" fmla="*/ 275909 h 275909"/>
                <a:gd name="connsiteX5" fmla="*/ 275986 w 275985"/>
                <a:gd name="connsiteY5" fmla="*/ 0 h 275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5985" h="275909">
                  <a:moveTo>
                    <a:pt x="275986" y="0"/>
                  </a:moveTo>
                  <a:lnTo>
                    <a:pt x="275986" y="0"/>
                  </a:lnTo>
                  <a:cubicBezTo>
                    <a:pt x="123606" y="-38"/>
                    <a:pt x="46" y="123453"/>
                    <a:pt x="0" y="275832"/>
                  </a:cubicBezTo>
                  <a:cubicBezTo>
                    <a:pt x="0" y="275855"/>
                    <a:pt x="0" y="275886"/>
                    <a:pt x="0" y="275909"/>
                  </a:cubicBezTo>
                  <a:lnTo>
                    <a:pt x="0" y="275909"/>
                  </a:lnTo>
                  <a:cubicBezTo>
                    <a:pt x="152303" y="275694"/>
                    <a:pt x="275732" y="152303"/>
                    <a:pt x="275986" y="0"/>
                  </a:cubicBezTo>
                </a:path>
              </a:pathLst>
            </a:custGeom>
            <a:solidFill>
              <a:schemeClr val="bg1"/>
            </a:solidFill>
            <a:ln w="7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0" name="Freeform: Shape 449">
              <a:extLst>
                <a:ext uri="{FF2B5EF4-FFF2-40B4-BE49-F238E27FC236}">
                  <a16:creationId xmlns:a16="http://schemas.microsoft.com/office/drawing/2014/main" id="{3EFDA4AF-C368-47A7-A460-5BF3E1EBFB8B}"/>
                </a:ext>
              </a:extLst>
            </p:cNvPr>
            <p:cNvSpPr/>
            <p:nvPr/>
          </p:nvSpPr>
          <p:spPr>
            <a:xfrm>
              <a:off x="14731971" y="5318991"/>
              <a:ext cx="619832" cy="620695"/>
            </a:xfrm>
            <a:custGeom>
              <a:avLst/>
              <a:gdLst>
                <a:gd name="connsiteX0" fmla="*/ 0 w 275985"/>
                <a:gd name="connsiteY0" fmla="*/ 0 h 276369"/>
                <a:gd name="connsiteX1" fmla="*/ 0 w 275985"/>
                <a:gd name="connsiteY1" fmla="*/ 0 h 276369"/>
                <a:gd name="connsiteX2" fmla="*/ 275986 w 275985"/>
                <a:gd name="connsiteY2" fmla="*/ 276370 h 276369"/>
                <a:gd name="connsiteX3" fmla="*/ 275986 w 275985"/>
                <a:gd name="connsiteY3" fmla="*/ 276370 h 276369"/>
                <a:gd name="connsiteX4" fmla="*/ 0 w 275985"/>
                <a:gd name="connsiteY4" fmla="*/ 537 h 276369"/>
                <a:gd name="connsiteX5" fmla="*/ 0 w 275985"/>
                <a:gd name="connsiteY5" fmla="*/ 0 h 276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5985" h="276369">
                  <a:moveTo>
                    <a:pt x="0" y="0"/>
                  </a:moveTo>
                  <a:lnTo>
                    <a:pt x="0" y="0"/>
                  </a:lnTo>
                  <a:cubicBezTo>
                    <a:pt x="152487" y="215"/>
                    <a:pt x="275986" y="123883"/>
                    <a:pt x="275986" y="276370"/>
                  </a:cubicBezTo>
                  <a:lnTo>
                    <a:pt x="275986" y="276370"/>
                  </a:lnTo>
                  <a:cubicBezTo>
                    <a:pt x="123606" y="276416"/>
                    <a:pt x="46" y="152917"/>
                    <a:pt x="0" y="537"/>
                  </a:cubicBezTo>
                  <a:cubicBezTo>
                    <a:pt x="0" y="361"/>
                    <a:pt x="0" y="177"/>
                    <a:pt x="0" y="0"/>
                  </a:cubicBezTo>
                </a:path>
              </a:pathLst>
            </a:custGeom>
            <a:solidFill>
              <a:schemeClr val="bg1"/>
            </a:solidFill>
            <a:ln w="7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1" name="Freeform: Shape 450">
              <a:extLst>
                <a:ext uri="{FF2B5EF4-FFF2-40B4-BE49-F238E27FC236}">
                  <a16:creationId xmlns:a16="http://schemas.microsoft.com/office/drawing/2014/main" id="{692F211C-3F23-43CF-A46D-21AC58C80340}"/>
                </a:ext>
              </a:extLst>
            </p:cNvPr>
            <p:cNvSpPr/>
            <p:nvPr/>
          </p:nvSpPr>
          <p:spPr>
            <a:xfrm>
              <a:off x="15351803" y="5939688"/>
              <a:ext cx="619662" cy="619659"/>
            </a:xfrm>
            <a:custGeom>
              <a:avLst/>
              <a:gdLst>
                <a:gd name="connsiteX0" fmla="*/ 0 w 275909"/>
                <a:gd name="connsiteY0" fmla="*/ 0 h 275908"/>
                <a:gd name="connsiteX1" fmla="*/ 0 w 275909"/>
                <a:gd name="connsiteY1" fmla="*/ 0 h 275908"/>
                <a:gd name="connsiteX2" fmla="*/ 275909 w 275909"/>
                <a:gd name="connsiteY2" fmla="*/ 275909 h 275908"/>
                <a:gd name="connsiteX3" fmla="*/ 275909 w 275909"/>
                <a:gd name="connsiteY3" fmla="*/ 275909 h 275908"/>
                <a:gd name="connsiteX4" fmla="*/ 0 w 275909"/>
                <a:gd name="connsiteY4" fmla="*/ 0 h 275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5909" h="275908">
                  <a:moveTo>
                    <a:pt x="0" y="0"/>
                  </a:moveTo>
                  <a:lnTo>
                    <a:pt x="0" y="0"/>
                  </a:lnTo>
                  <a:cubicBezTo>
                    <a:pt x="152379" y="0"/>
                    <a:pt x="275909" y="123530"/>
                    <a:pt x="275909" y="275909"/>
                  </a:cubicBezTo>
                  <a:lnTo>
                    <a:pt x="275909" y="275909"/>
                  </a:lnTo>
                  <a:cubicBezTo>
                    <a:pt x="123530" y="275909"/>
                    <a:pt x="0" y="152379"/>
                    <a:pt x="0" y="0"/>
                  </a:cubicBezTo>
                </a:path>
              </a:pathLst>
            </a:custGeom>
            <a:solidFill>
              <a:schemeClr val="bg1"/>
            </a:solidFill>
            <a:ln w="7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2" name="Freeform: Shape 451">
              <a:extLst>
                <a:ext uri="{FF2B5EF4-FFF2-40B4-BE49-F238E27FC236}">
                  <a16:creationId xmlns:a16="http://schemas.microsoft.com/office/drawing/2014/main" id="{F3701B68-DE2B-4E89-8DB5-32C7B59883E7}"/>
                </a:ext>
              </a:extLst>
            </p:cNvPr>
            <p:cNvSpPr/>
            <p:nvPr/>
          </p:nvSpPr>
          <p:spPr>
            <a:xfrm>
              <a:off x="15351803" y="5318991"/>
              <a:ext cx="619662" cy="620695"/>
            </a:xfrm>
            <a:custGeom>
              <a:avLst/>
              <a:gdLst>
                <a:gd name="connsiteX0" fmla="*/ 275909 w 275909"/>
                <a:gd name="connsiteY0" fmla="*/ 0 h 276369"/>
                <a:gd name="connsiteX1" fmla="*/ 275909 w 275909"/>
                <a:gd name="connsiteY1" fmla="*/ 0 h 276369"/>
                <a:gd name="connsiteX2" fmla="*/ 0 w 275909"/>
                <a:gd name="connsiteY2" fmla="*/ 276370 h 276369"/>
                <a:gd name="connsiteX3" fmla="*/ 0 w 275909"/>
                <a:gd name="connsiteY3" fmla="*/ 276370 h 276369"/>
                <a:gd name="connsiteX4" fmla="*/ 275909 w 275909"/>
                <a:gd name="connsiteY4" fmla="*/ 461 h 276369"/>
                <a:gd name="connsiteX5" fmla="*/ 275909 w 275909"/>
                <a:gd name="connsiteY5" fmla="*/ 0 h 276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5909" h="276369">
                  <a:moveTo>
                    <a:pt x="275909" y="0"/>
                  </a:moveTo>
                  <a:lnTo>
                    <a:pt x="275909" y="0"/>
                  </a:lnTo>
                  <a:cubicBezTo>
                    <a:pt x="123453" y="253"/>
                    <a:pt x="0" y="123913"/>
                    <a:pt x="0" y="276370"/>
                  </a:cubicBezTo>
                  <a:lnTo>
                    <a:pt x="0" y="276370"/>
                  </a:lnTo>
                  <a:cubicBezTo>
                    <a:pt x="152379" y="276370"/>
                    <a:pt x="275909" y="152840"/>
                    <a:pt x="275909" y="461"/>
                  </a:cubicBezTo>
                  <a:cubicBezTo>
                    <a:pt x="275909" y="307"/>
                    <a:pt x="275909" y="154"/>
                    <a:pt x="275909" y="0"/>
                  </a:cubicBezTo>
                </a:path>
              </a:pathLst>
            </a:custGeom>
            <a:solidFill>
              <a:schemeClr val="bg1"/>
            </a:solidFill>
            <a:ln w="7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3" name="Freeform: Shape 452">
              <a:extLst>
                <a:ext uri="{FF2B5EF4-FFF2-40B4-BE49-F238E27FC236}">
                  <a16:creationId xmlns:a16="http://schemas.microsoft.com/office/drawing/2014/main" id="{D7C1F145-F8EC-43C7-8F95-70E516CFA638}"/>
                </a:ext>
              </a:extLst>
            </p:cNvPr>
            <p:cNvSpPr/>
            <p:nvPr/>
          </p:nvSpPr>
          <p:spPr>
            <a:xfrm>
              <a:off x="15971465" y="5939688"/>
              <a:ext cx="619832" cy="619662"/>
            </a:xfrm>
            <a:custGeom>
              <a:avLst/>
              <a:gdLst>
                <a:gd name="connsiteX0" fmla="*/ 275986 w 275985"/>
                <a:gd name="connsiteY0" fmla="*/ 0 h 275909"/>
                <a:gd name="connsiteX1" fmla="*/ 275986 w 275985"/>
                <a:gd name="connsiteY1" fmla="*/ 0 h 275909"/>
                <a:gd name="connsiteX2" fmla="*/ 0 w 275985"/>
                <a:gd name="connsiteY2" fmla="*/ 275832 h 275909"/>
                <a:gd name="connsiteX3" fmla="*/ 0 w 275985"/>
                <a:gd name="connsiteY3" fmla="*/ 275909 h 275909"/>
                <a:gd name="connsiteX4" fmla="*/ 0 w 275985"/>
                <a:gd name="connsiteY4" fmla="*/ 275909 h 275909"/>
                <a:gd name="connsiteX5" fmla="*/ 275986 w 275985"/>
                <a:gd name="connsiteY5" fmla="*/ 0 h 275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5985" h="275909">
                  <a:moveTo>
                    <a:pt x="275986" y="0"/>
                  </a:moveTo>
                  <a:lnTo>
                    <a:pt x="275986" y="0"/>
                  </a:lnTo>
                  <a:cubicBezTo>
                    <a:pt x="123606" y="-38"/>
                    <a:pt x="46" y="123453"/>
                    <a:pt x="0" y="275832"/>
                  </a:cubicBezTo>
                  <a:cubicBezTo>
                    <a:pt x="0" y="275855"/>
                    <a:pt x="0" y="275886"/>
                    <a:pt x="0" y="275909"/>
                  </a:cubicBezTo>
                  <a:lnTo>
                    <a:pt x="0" y="275909"/>
                  </a:lnTo>
                  <a:cubicBezTo>
                    <a:pt x="152303" y="275694"/>
                    <a:pt x="275732" y="152303"/>
                    <a:pt x="275986" y="0"/>
                  </a:cubicBezTo>
                </a:path>
              </a:pathLst>
            </a:custGeom>
            <a:solidFill>
              <a:schemeClr val="bg1"/>
            </a:solidFill>
            <a:ln w="7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4" name="Freeform: Shape 453">
              <a:extLst>
                <a:ext uri="{FF2B5EF4-FFF2-40B4-BE49-F238E27FC236}">
                  <a16:creationId xmlns:a16="http://schemas.microsoft.com/office/drawing/2014/main" id="{BACF3B60-2E64-4050-AF37-AF4DD157043D}"/>
                </a:ext>
              </a:extLst>
            </p:cNvPr>
            <p:cNvSpPr/>
            <p:nvPr/>
          </p:nvSpPr>
          <p:spPr>
            <a:xfrm>
              <a:off x="15971465" y="5318991"/>
              <a:ext cx="619832" cy="620695"/>
            </a:xfrm>
            <a:custGeom>
              <a:avLst/>
              <a:gdLst>
                <a:gd name="connsiteX0" fmla="*/ 0 w 275985"/>
                <a:gd name="connsiteY0" fmla="*/ 0 h 276369"/>
                <a:gd name="connsiteX1" fmla="*/ 0 w 275985"/>
                <a:gd name="connsiteY1" fmla="*/ 0 h 276369"/>
                <a:gd name="connsiteX2" fmla="*/ 275986 w 275985"/>
                <a:gd name="connsiteY2" fmla="*/ 276370 h 276369"/>
                <a:gd name="connsiteX3" fmla="*/ 275986 w 275985"/>
                <a:gd name="connsiteY3" fmla="*/ 276370 h 276369"/>
                <a:gd name="connsiteX4" fmla="*/ 0 w 275985"/>
                <a:gd name="connsiteY4" fmla="*/ 537 h 276369"/>
                <a:gd name="connsiteX5" fmla="*/ 0 w 275985"/>
                <a:gd name="connsiteY5" fmla="*/ 0 h 276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5985" h="276369">
                  <a:moveTo>
                    <a:pt x="0" y="0"/>
                  </a:moveTo>
                  <a:lnTo>
                    <a:pt x="0" y="0"/>
                  </a:lnTo>
                  <a:cubicBezTo>
                    <a:pt x="152487" y="215"/>
                    <a:pt x="275986" y="123883"/>
                    <a:pt x="275986" y="276370"/>
                  </a:cubicBezTo>
                  <a:lnTo>
                    <a:pt x="275986" y="276370"/>
                  </a:lnTo>
                  <a:cubicBezTo>
                    <a:pt x="123606" y="276416"/>
                    <a:pt x="46" y="152917"/>
                    <a:pt x="0" y="537"/>
                  </a:cubicBezTo>
                  <a:cubicBezTo>
                    <a:pt x="0" y="361"/>
                    <a:pt x="0" y="177"/>
                    <a:pt x="0" y="0"/>
                  </a:cubicBezTo>
                </a:path>
              </a:pathLst>
            </a:custGeom>
            <a:solidFill>
              <a:schemeClr val="bg1"/>
            </a:solidFill>
            <a:ln w="7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5" name="Freeform: Shape 454">
              <a:extLst>
                <a:ext uri="{FF2B5EF4-FFF2-40B4-BE49-F238E27FC236}">
                  <a16:creationId xmlns:a16="http://schemas.microsoft.com/office/drawing/2014/main" id="{4C005D1F-8E3D-4D77-B187-7B7DF20A8518}"/>
                </a:ext>
              </a:extLst>
            </p:cNvPr>
            <p:cNvSpPr/>
            <p:nvPr/>
          </p:nvSpPr>
          <p:spPr>
            <a:xfrm>
              <a:off x="16591300" y="5939688"/>
              <a:ext cx="619662" cy="619659"/>
            </a:xfrm>
            <a:custGeom>
              <a:avLst/>
              <a:gdLst>
                <a:gd name="connsiteX0" fmla="*/ 0 w 275909"/>
                <a:gd name="connsiteY0" fmla="*/ 0 h 275908"/>
                <a:gd name="connsiteX1" fmla="*/ 0 w 275909"/>
                <a:gd name="connsiteY1" fmla="*/ 0 h 275908"/>
                <a:gd name="connsiteX2" fmla="*/ 275909 w 275909"/>
                <a:gd name="connsiteY2" fmla="*/ 275909 h 275908"/>
                <a:gd name="connsiteX3" fmla="*/ 275909 w 275909"/>
                <a:gd name="connsiteY3" fmla="*/ 275909 h 275908"/>
                <a:gd name="connsiteX4" fmla="*/ 0 w 275909"/>
                <a:gd name="connsiteY4" fmla="*/ 0 h 275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5909" h="275908">
                  <a:moveTo>
                    <a:pt x="0" y="0"/>
                  </a:moveTo>
                  <a:lnTo>
                    <a:pt x="0" y="0"/>
                  </a:lnTo>
                  <a:cubicBezTo>
                    <a:pt x="152379" y="0"/>
                    <a:pt x="275909" y="123530"/>
                    <a:pt x="275909" y="275909"/>
                  </a:cubicBezTo>
                  <a:lnTo>
                    <a:pt x="275909" y="275909"/>
                  </a:lnTo>
                  <a:cubicBezTo>
                    <a:pt x="123530" y="275909"/>
                    <a:pt x="0" y="152379"/>
                    <a:pt x="0" y="0"/>
                  </a:cubicBezTo>
                </a:path>
              </a:pathLst>
            </a:custGeom>
            <a:solidFill>
              <a:schemeClr val="bg1"/>
            </a:solidFill>
            <a:ln w="7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6" name="Freeform: Shape 455">
              <a:extLst>
                <a:ext uri="{FF2B5EF4-FFF2-40B4-BE49-F238E27FC236}">
                  <a16:creationId xmlns:a16="http://schemas.microsoft.com/office/drawing/2014/main" id="{930E16C1-EEDD-4842-AE8B-0E3884834EEB}"/>
                </a:ext>
              </a:extLst>
            </p:cNvPr>
            <p:cNvSpPr/>
            <p:nvPr/>
          </p:nvSpPr>
          <p:spPr>
            <a:xfrm>
              <a:off x="16591300" y="5318991"/>
              <a:ext cx="619662" cy="620695"/>
            </a:xfrm>
            <a:custGeom>
              <a:avLst/>
              <a:gdLst>
                <a:gd name="connsiteX0" fmla="*/ 275909 w 275909"/>
                <a:gd name="connsiteY0" fmla="*/ 0 h 276369"/>
                <a:gd name="connsiteX1" fmla="*/ 275909 w 275909"/>
                <a:gd name="connsiteY1" fmla="*/ 0 h 276369"/>
                <a:gd name="connsiteX2" fmla="*/ 0 w 275909"/>
                <a:gd name="connsiteY2" fmla="*/ 276370 h 276369"/>
                <a:gd name="connsiteX3" fmla="*/ 0 w 275909"/>
                <a:gd name="connsiteY3" fmla="*/ 276370 h 276369"/>
                <a:gd name="connsiteX4" fmla="*/ 275909 w 275909"/>
                <a:gd name="connsiteY4" fmla="*/ 461 h 276369"/>
                <a:gd name="connsiteX5" fmla="*/ 275909 w 275909"/>
                <a:gd name="connsiteY5" fmla="*/ 0 h 276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5909" h="276369">
                  <a:moveTo>
                    <a:pt x="275909" y="0"/>
                  </a:moveTo>
                  <a:lnTo>
                    <a:pt x="275909" y="0"/>
                  </a:lnTo>
                  <a:cubicBezTo>
                    <a:pt x="123453" y="253"/>
                    <a:pt x="0" y="123913"/>
                    <a:pt x="0" y="276370"/>
                  </a:cubicBezTo>
                  <a:lnTo>
                    <a:pt x="0" y="276370"/>
                  </a:lnTo>
                  <a:cubicBezTo>
                    <a:pt x="152379" y="276370"/>
                    <a:pt x="275909" y="152840"/>
                    <a:pt x="275909" y="461"/>
                  </a:cubicBezTo>
                  <a:cubicBezTo>
                    <a:pt x="275909" y="307"/>
                    <a:pt x="275909" y="154"/>
                    <a:pt x="275909" y="0"/>
                  </a:cubicBezTo>
                </a:path>
              </a:pathLst>
            </a:custGeom>
            <a:solidFill>
              <a:schemeClr val="bg1"/>
            </a:solidFill>
            <a:ln w="7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7" name="Freeform: Shape 456">
              <a:extLst>
                <a:ext uri="{FF2B5EF4-FFF2-40B4-BE49-F238E27FC236}">
                  <a16:creationId xmlns:a16="http://schemas.microsoft.com/office/drawing/2014/main" id="{E2464A90-3D1E-4611-AD62-901357AE7777}"/>
                </a:ext>
              </a:extLst>
            </p:cNvPr>
            <p:cNvSpPr/>
            <p:nvPr/>
          </p:nvSpPr>
          <p:spPr>
            <a:xfrm>
              <a:off x="17210099" y="5939688"/>
              <a:ext cx="620695" cy="619662"/>
            </a:xfrm>
            <a:custGeom>
              <a:avLst/>
              <a:gdLst>
                <a:gd name="connsiteX0" fmla="*/ 276370 w 276369"/>
                <a:gd name="connsiteY0" fmla="*/ 0 h 275909"/>
                <a:gd name="connsiteX1" fmla="*/ 276370 w 276369"/>
                <a:gd name="connsiteY1" fmla="*/ 0 h 275909"/>
                <a:gd name="connsiteX2" fmla="*/ 0 w 276369"/>
                <a:gd name="connsiteY2" fmla="*/ 275449 h 275909"/>
                <a:gd name="connsiteX3" fmla="*/ 0 w 276369"/>
                <a:gd name="connsiteY3" fmla="*/ 275909 h 275909"/>
                <a:gd name="connsiteX4" fmla="*/ 0 w 276369"/>
                <a:gd name="connsiteY4" fmla="*/ 275909 h 275909"/>
                <a:gd name="connsiteX5" fmla="*/ 276370 w 276369"/>
                <a:gd name="connsiteY5" fmla="*/ 0 h 275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6369" h="275909">
                  <a:moveTo>
                    <a:pt x="276370" y="0"/>
                  </a:moveTo>
                  <a:lnTo>
                    <a:pt x="276370" y="0"/>
                  </a:lnTo>
                  <a:cubicBezTo>
                    <a:pt x="123990" y="-253"/>
                    <a:pt x="253" y="123069"/>
                    <a:pt x="0" y="275449"/>
                  </a:cubicBezTo>
                  <a:cubicBezTo>
                    <a:pt x="0" y="275602"/>
                    <a:pt x="0" y="275756"/>
                    <a:pt x="0" y="275909"/>
                  </a:cubicBezTo>
                  <a:lnTo>
                    <a:pt x="0" y="275909"/>
                  </a:lnTo>
                  <a:cubicBezTo>
                    <a:pt x="152456" y="275909"/>
                    <a:pt x="276116" y="152457"/>
                    <a:pt x="276370" y="0"/>
                  </a:cubicBezTo>
                </a:path>
              </a:pathLst>
            </a:custGeom>
            <a:solidFill>
              <a:schemeClr val="bg1"/>
            </a:solidFill>
            <a:ln w="7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8" name="Freeform: Shape 457">
              <a:extLst>
                <a:ext uri="{FF2B5EF4-FFF2-40B4-BE49-F238E27FC236}">
                  <a16:creationId xmlns:a16="http://schemas.microsoft.com/office/drawing/2014/main" id="{9420A3DC-4E5D-44CD-A477-98D867CFE8AF}"/>
                </a:ext>
              </a:extLst>
            </p:cNvPr>
            <p:cNvSpPr/>
            <p:nvPr/>
          </p:nvSpPr>
          <p:spPr>
            <a:xfrm>
              <a:off x="17210961" y="5318991"/>
              <a:ext cx="620695" cy="620695"/>
            </a:xfrm>
            <a:custGeom>
              <a:avLst/>
              <a:gdLst>
                <a:gd name="connsiteX0" fmla="*/ 0 w 276369"/>
                <a:gd name="connsiteY0" fmla="*/ 0 h 276369"/>
                <a:gd name="connsiteX1" fmla="*/ 0 w 276369"/>
                <a:gd name="connsiteY1" fmla="*/ 0 h 276369"/>
                <a:gd name="connsiteX2" fmla="*/ 276370 w 276369"/>
                <a:gd name="connsiteY2" fmla="*/ 276370 h 276369"/>
                <a:gd name="connsiteX3" fmla="*/ 276370 w 276369"/>
                <a:gd name="connsiteY3" fmla="*/ 276370 h 276369"/>
                <a:gd name="connsiteX4" fmla="*/ 0 w 276369"/>
                <a:gd name="connsiteY4" fmla="*/ 921 h 276369"/>
                <a:gd name="connsiteX5" fmla="*/ 0 w 276369"/>
                <a:gd name="connsiteY5" fmla="*/ 0 h 276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6369" h="276369">
                  <a:moveTo>
                    <a:pt x="0" y="0"/>
                  </a:moveTo>
                  <a:lnTo>
                    <a:pt x="0" y="0"/>
                  </a:lnTo>
                  <a:cubicBezTo>
                    <a:pt x="152633" y="0"/>
                    <a:pt x="276370" y="123737"/>
                    <a:pt x="276370" y="276370"/>
                  </a:cubicBezTo>
                  <a:lnTo>
                    <a:pt x="276370" y="276370"/>
                  </a:lnTo>
                  <a:cubicBezTo>
                    <a:pt x="123990" y="276623"/>
                    <a:pt x="253" y="153301"/>
                    <a:pt x="0" y="921"/>
                  </a:cubicBezTo>
                  <a:cubicBezTo>
                    <a:pt x="0" y="614"/>
                    <a:pt x="0" y="307"/>
                    <a:pt x="0" y="0"/>
                  </a:cubicBezTo>
                </a:path>
              </a:pathLst>
            </a:custGeom>
            <a:solidFill>
              <a:schemeClr val="bg1"/>
            </a:solidFill>
            <a:ln w="7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9" name="Freeform: Shape 458">
              <a:extLst>
                <a:ext uri="{FF2B5EF4-FFF2-40B4-BE49-F238E27FC236}">
                  <a16:creationId xmlns:a16="http://schemas.microsoft.com/office/drawing/2014/main" id="{F6D754AF-5E8F-4FFE-855A-EF6A21C3A2D2}"/>
                </a:ext>
              </a:extLst>
            </p:cNvPr>
            <p:cNvSpPr/>
            <p:nvPr/>
          </p:nvSpPr>
          <p:spPr>
            <a:xfrm>
              <a:off x="17830796" y="5318991"/>
              <a:ext cx="619662" cy="620695"/>
            </a:xfrm>
            <a:custGeom>
              <a:avLst/>
              <a:gdLst>
                <a:gd name="connsiteX0" fmla="*/ 0 w 275909"/>
                <a:gd name="connsiteY0" fmla="*/ 0 h 276369"/>
                <a:gd name="connsiteX1" fmla="*/ 0 w 275909"/>
                <a:gd name="connsiteY1" fmla="*/ 0 h 276369"/>
                <a:gd name="connsiteX2" fmla="*/ 275909 w 275909"/>
                <a:gd name="connsiteY2" fmla="*/ 276370 h 276369"/>
                <a:gd name="connsiteX3" fmla="*/ 275909 w 275909"/>
                <a:gd name="connsiteY3" fmla="*/ 276370 h 276369"/>
                <a:gd name="connsiteX4" fmla="*/ 0 w 275909"/>
                <a:gd name="connsiteY4" fmla="*/ 461 h 276369"/>
                <a:gd name="connsiteX5" fmla="*/ 0 w 275909"/>
                <a:gd name="connsiteY5" fmla="*/ 0 h 276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5909" h="276369">
                  <a:moveTo>
                    <a:pt x="0" y="0"/>
                  </a:moveTo>
                  <a:lnTo>
                    <a:pt x="0" y="0"/>
                  </a:lnTo>
                  <a:cubicBezTo>
                    <a:pt x="152456" y="253"/>
                    <a:pt x="275909" y="123913"/>
                    <a:pt x="275909" y="276370"/>
                  </a:cubicBezTo>
                  <a:lnTo>
                    <a:pt x="275909" y="276370"/>
                  </a:lnTo>
                  <a:cubicBezTo>
                    <a:pt x="123530" y="276370"/>
                    <a:pt x="0" y="152840"/>
                    <a:pt x="0" y="461"/>
                  </a:cubicBezTo>
                  <a:cubicBezTo>
                    <a:pt x="0" y="307"/>
                    <a:pt x="0" y="154"/>
                    <a:pt x="0" y="0"/>
                  </a:cubicBezTo>
                </a:path>
              </a:pathLst>
            </a:custGeom>
            <a:solidFill>
              <a:schemeClr val="bg1"/>
            </a:solidFill>
            <a:ln w="7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0" name="Freeform: Shape 459">
              <a:extLst>
                <a:ext uri="{FF2B5EF4-FFF2-40B4-BE49-F238E27FC236}">
                  <a16:creationId xmlns:a16="http://schemas.microsoft.com/office/drawing/2014/main" id="{AB97AFC1-5827-4DBF-A432-B2186C103210}"/>
                </a:ext>
              </a:extLst>
            </p:cNvPr>
            <p:cNvSpPr/>
            <p:nvPr/>
          </p:nvSpPr>
          <p:spPr>
            <a:xfrm>
              <a:off x="18450458" y="5939688"/>
              <a:ext cx="619832" cy="619662"/>
            </a:xfrm>
            <a:custGeom>
              <a:avLst/>
              <a:gdLst>
                <a:gd name="connsiteX0" fmla="*/ 0 w 275985"/>
                <a:gd name="connsiteY0" fmla="*/ 0 h 275909"/>
                <a:gd name="connsiteX1" fmla="*/ 0 w 275985"/>
                <a:gd name="connsiteY1" fmla="*/ 0 h 275909"/>
                <a:gd name="connsiteX2" fmla="*/ 275986 w 275985"/>
                <a:gd name="connsiteY2" fmla="*/ 275909 h 275909"/>
                <a:gd name="connsiteX3" fmla="*/ 275986 w 275985"/>
                <a:gd name="connsiteY3" fmla="*/ 275909 h 275909"/>
                <a:gd name="connsiteX4" fmla="*/ 0 w 275985"/>
                <a:gd name="connsiteY4" fmla="*/ 77 h 275909"/>
                <a:gd name="connsiteX5" fmla="*/ 0 w 275985"/>
                <a:gd name="connsiteY5" fmla="*/ 0 h 275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5985" h="275909">
                  <a:moveTo>
                    <a:pt x="0" y="0"/>
                  </a:moveTo>
                  <a:lnTo>
                    <a:pt x="0" y="0"/>
                  </a:lnTo>
                  <a:cubicBezTo>
                    <a:pt x="152302" y="215"/>
                    <a:pt x="275732" y="123606"/>
                    <a:pt x="275986" y="275909"/>
                  </a:cubicBezTo>
                  <a:lnTo>
                    <a:pt x="275986" y="275909"/>
                  </a:lnTo>
                  <a:cubicBezTo>
                    <a:pt x="123606" y="275947"/>
                    <a:pt x="46" y="152456"/>
                    <a:pt x="0" y="77"/>
                  </a:cubicBezTo>
                  <a:cubicBezTo>
                    <a:pt x="0" y="54"/>
                    <a:pt x="0" y="23"/>
                    <a:pt x="0" y="0"/>
                  </a:cubicBezTo>
                </a:path>
              </a:pathLst>
            </a:custGeom>
            <a:solidFill>
              <a:schemeClr val="bg1"/>
            </a:solidFill>
            <a:ln w="7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1" name="Freeform: Shape 460">
              <a:extLst>
                <a:ext uri="{FF2B5EF4-FFF2-40B4-BE49-F238E27FC236}">
                  <a16:creationId xmlns:a16="http://schemas.microsoft.com/office/drawing/2014/main" id="{AF64EEE1-21BF-42F9-9E7A-5352CCC847D7}"/>
                </a:ext>
              </a:extLst>
            </p:cNvPr>
            <p:cNvSpPr/>
            <p:nvPr/>
          </p:nvSpPr>
          <p:spPr>
            <a:xfrm>
              <a:off x="18450458" y="5318991"/>
              <a:ext cx="619832" cy="620695"/>
            </a:xfrm>
            <a:custGeom>
              <a:avLst/>
              <a:gdLst>
                <a:gd name="connsiteX0" fmla="*/ 275986 w 275985"/>
                <a:gd name="connsiteY0" fmla="*/ 0 h 276369"/>
                <a:gd name="connsiteX1" fmla="*/ 275986 w 275985"/>
                <a:gd name="connsiteY1" fmla="*/ 0 h 276369"/>
                <a:gd name="connsiteX2" fmla="*/ 0 w 275985"/>
                <a:gd name="connsiteY2" fmla="*/ 276370 h 276369"/>
                <a:gd name="connsiteX3" fmla="*/ 0 w 275985"/>
                <a:gd name="connsiteY3" fmla="*/ 276370 h 276369"/>
                <a:gd name="connsiteX4" fmla="*/ 275986 w 275985"/>
                <a:gd name="connsiteY4" fmla="*/ 0 h 276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5985" h="276369">
                  <a:moveTo>
                    <a:pt x="275986" y="0"/>
                  </a:moveTo>
                  <a:lnTo>
                    <a:pt x="275986" y="0"/>
                  </a:lnTo>
                  <a:cubicBezTo>
                    <a:pt x="123499" y="215"/>
                    <a:pt x="0" y="123883"/>
                    <a:pt x="0" y="276370"/>
                  </a:cubicBezTo>
                  <a:lnTo>
                    <a:pt x="0" y="276370"/>
                  </a:lnTo>
                  <a:cubicBezTo>
                    <a:pt x="152487" y="276155"/>
                    <a:pt x="275986" y="152487"/>
                    <a:pt x="275986" y="0"/>
                  </a:cubicBezTo>
                </a:path>
              </a:pathLst>
            </a:custGeom>
            <a:solidFill>
              <a:schemeClr val="bg1"/>
            </a:solidFill>
            <a:ln w="7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2" name="Freeform: Shape 461">
              <a:extLst>
                <a:ext uri="{FF2B5EF4-FFF2-40B4-BE49-F238E27FC236}">
                  <a16:creationId xmlns:a16="http://schemas.microsoft.com/office/drawing/2014/main" id="{5D0F980C-46C8-4EBC-9AEF-B880149C0090}"/>
                </a:ext>
              </a:extLst>
            </p:cNvPr>
            <p:cNvSpPr/>
            <p:nvPr/>
          </p:nvSpPr>
          <p:spPr>
            <a:xfrm>
              <a:off x="12872813" y="4699330"/>
              <a:ext cx="619662" cy="619659"/>
            </a:xfrm>
            <a:custGeom>
              <a:avLst/>
              <a:gdLst>
                <a:gd name="connsiteX0" fmla="*/ 0 w 275909"/>
                <a:gd name="connsiteY0" fmla="*/ 77 h 275908"/>
                <a:gd name="connsiteX1" fmla="*/ 0 w 275909"/>
                <a:gd name="connsiteY1" fmla="*/ 77 h 275908"/>
                <a:gd name="connsiteX2" fmla="*/ 275909 w 275909"/>
                <a:gd name="connsiteY2" fmla="*/ 275909 h 275908"/>
                <a:gd name="connsiteX3" fmla="*/ 275909 w 275909"/>
                <a:gd name="connsiteY3" fmla="*/ 275909 h 275908"/>
                <a:gd name="connsiteX4" fmla="*/ 0 w 275909"/>
                <a:gd name="connsiteY4" fmla="*/ 0 h 275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5909" h="275908">
                  <a:moveTo>
                    <a:pt x="0" y="77"/>
                  </a:moveTo>
                  <a:lnTo>
                    <a:pt x="0" y="77"/>
                  </a:lnTo>
                  <a:cubicBezTo>
                    <a:pt x="152349" y="77"/>
                    <a:pt x="275863" y="123560"/>
                    <a:pt x="275909" y="275909"/>
                  </a:cubicBezTo>
                  <a:lnTo>
                    <a:pt x="275909" y="275909"/>
                  </a:lnTo>
                  <a:cubicBezTo>
                    <a:pt x="123530" y="275909"/>
                    <a:pt x="0" y="152379"/>
                    <a:pt x="0" y="0"/>
                  </a:cubicBezTo>
                </a:path>
              </a:pathLst>
            </a:custGeom>
            <a:solidFill>
              <a:schemeClr val="bg1">
                <a:alpha val="65000"/>
              </a:schemeClr>
            </a:solidFill>
            <a:ln w="7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3" name="Freeform: Shape 462">
              <a:extLst>
                <a:ext uri="{FF2B5EF4-FFF2-40B4-BE49-F238E27FC236}">
                  <a16:creationId xmlns:a16="http://schemas.microsoft.com/office/drawing/2014/main" id="{2007F80F-88DB-43AD-A8C2-63F1CE2434E3}"/>
                </a:ext>
              </a:extLst>
            </p:cNvPr>
            <p:cNvSpPr/>
            <p:nvPr/>
          </p:nvSpPr>
          <p:spPr>
            <a:xfrm>
              <a:off x="12872813" y="4079668"/>
              <a:ext cx="619662" cy="620695"/>
            </a:xfrm>
            <a:custGeom>
              <a:avLst/>
              <a:gdLst>
                <a:gd name="connsiteX0" fmla="*/ 275909 w 275909"/>
                <a:gd name="connsiteY0" fmla="*/ 0 h 276369"/>
                <a:gd name="connsiteX1" fmla="*/ 275909 w 275909"/>
                <a:gd name="connsiteY1" fmla="*/ 0 h 276369"/>
                <a:gd name="connsiteX2" fmla="*/ 0 w 275909"/>
                <a:gd name="connsiteY2" fmla="*/ 276370 h 276369"/>
                <a:gd name="connsiteX3" fmla="*/ 0 w 275909"/>
                <a:gd name="connsiteY3" fmla="*/ 276370 h 276369"/>
                <a:gd name="connsiteX4" fmla="*/ 275909 w 275909"/>
                <a:gd name="connsiteY4" fmla="*/ 461 h 276369"/>
                <a:gd name="connsiteX5" fmla="*/ 275909 w 275909"/>
                <a:gd name="connsiteY5" fmla="*/ 0 h 276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5909" h="276369">
                  <a:moveTo>
                    <a:pt x="275909" y="0"/>
                  </a:moveTo>
                  <a:lnTo>
                    <a:pt x="275909" y="0"/>
                  </a:lnTo>
                  <a:cubicBezTo>
                    <a:pt x="123453" y="253"/>
                    <a:pt x="0" y="123913"/>
                    <a:pt x="0" y="276370"/>
                  </a:cubicBezTo>
                  <a:lnTo>
                    <a:pt x="0" y="276370"/>
                  </a:lnTo>
                  <a:cubicBezTo>
                    <a:pt x="152379" y="276370"/>
                    <a:pt x="275909" y="152840"/>
                    <a:pt x="275909" y="461"/>
                  </a:cubicBezTo>
                  <a:cubicBezTo>
                    <a:pt x="275909" y="307"/>
                    <a:pt x="275909" y="154"/>
                    <a:pt x="275909" y="0"/>
                  </a:cubicBezTo>
                </a:path>
              </a:pathLst>
            </a:custGeom>
            <a:solidFill>
              <a:schemeClr val="bg1">
                <a:alpha val="60000"/>
              </a:schemeClr>
            </a:solidFill>
            <a:ln w="7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4" name="Freeform: Shape 463">
              <a:extLst>
                <a:ext uri="{FF2B5EF4-FFF2-40B4-BE49-F238E27FC236}">
                  <a16:creationId xmlns:a16="http://schemas.microsoft.com/office/drawing/2014/main" id="{613F7B10-61B6-4DD9-A3C8-35059D4E89CC}"/>
                </a:ext>
              </a:extLst>
            </p:cNvPr>
            <p:cNvSpPr/>
            <p:nvPr/>
          </p:nvSpPr>
          <p:spPr>
            <a:xfrm>
              <a:off x="13492475" y="4079668"/>
              <a:ext cx="620695" cy="620695"/>
            </a:xfrm>
            <a:custGeom>
              <a:avLst/>
              <a:gdLst>
                <a:gd name="connsiteX0" fmla="*/ 0 w 276369"/>
                <a:gd name="connsiteY0" fmla="*/ 0 h 276369"/>
                <a:gd name="connsiteX1" fmla="*/ 0 w 276369"/>
                <a:gd name="connsiteY1" fmla="*/ 0 h 276369"/>
                <a:gd name="connsiteX2" fmla="*/ 276370 w 276369"/>
                <a:gd name="connsiteY2" fmla="*/ 276370 h 276369"/>
                <a:gd name="connsiteX3" fmla="*/ 276370 w 276369"/>
                <a:gd name="connsiteY3" fmla="*/ 276370 h 276369"/>
                <a:gd name="connsiteX4" fmla="*/ 0 w 276369"/>
                <a:gd name="connsiteY4" fmla="*/ 921 h 276369"/>
                <a:gd name="connsiteX5" fmla="*/ 0 w 276369"/>
                <a:gd name="connsiteY5" fmla="*/ 0 h 276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6369" h="276369">
                  <a:moveTo>
                    <a:pt x="0" y="0"/>
                  </a:moveTo>
                  <a:lnTo>
                    <a:pt x="0" y="0"/>
                  </a:lnTo>
                  <a:cubicBezTo>
                    <a:pt x="152633" y="0"/>
                    <a:pt x="276370" y="123737"/>
                    <a:pt x="276370" y="276370"/>
                  </a:cubicBezTo>
                  <a:lnTo>
                    <a:pt x="276370" y="276370"/>
                  </a:lnTo>
                  <a:cubicBezTo>
                    <a:pt x="123990" y="276623"/>
                    <a:pt x="253" y="153301"/>
                    <a:pt x="0" y="921"/>
                  </a:cubicBezTo>
                  <a:cubicBezTo>
                    <a:pt x="0" y="614"/>
                    <a:pt x="0" y="307"/>
                    <a:pt x="0" y="0"/>
                  </a:cubicBezTo>
                </a:path>
              </a:pathLst>
            </a:custGeom>
            <a:solidFill>
              <a:schemeClr val="bg1">
                <a:alpha val="60000"/>
              </a:schemeClr>
            </a:solidFill>
            <a:ln w="7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5" name="Freeform: Shape 464">
              <a:extLst>
                <a:ext uri="{FF2B5EF4-FFF2-40B4-BE49-F238E27FC236}">
                  <a16:creationId xmlns:a16="http://schemas.microsoft.com/office/drawing/2014/main" id="{9EEF4654-9115-4554-99E5-336FC85FEF41}"/>
                </a:ext>
              </a:extLst>
            </p:cNvPr>
            <p:cNvSpPr/>
            <p:nvPr/>
          </p:nvSpPr>
          <p:spPr>
            <a:xfrm>
              <a:off x="14731971" y="4699330"/>
              <a:ext cx="619832" cy="619659"/>
            </a:xfrm>
            <a:custGeom>
              <a:avLst/>
              <a:gdLst>
                <a:gd name="connsiteX0" fmla="*/ 275986 w 275985"/>
                <a:gd name="connsiteY0" fmla="*/ 77 h 275908"/>
                <a:gd name="connsiteX1" fmla="*/ 275986 w 275985"/>
                <a:gd name="connsiteY1" fmla="*/ 77 h 275908"/>
                <a:gd name="connsiteX2" fmla="*/ 0 w 275985"/>
                <a:gd name="connsiteY2" fmla="*/ 275909 h 275908"/>
                <a:gd name="connsiteX3" fmla="*/ 0 w 275985"/>
                <a:gd name="connsiteY3" fmla="*/ 275909 h 275908"/>
                <a:gd name="connsiteX4" fmla="*/ 275986 w 275985"/>
                <a:gd name="connsiteY4" fmla="*/ 0 h 275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5985" h="275908">
                  <a:moveTo>
                    <a:pt x="275986" y="77"/>
                  </a:moveTo>
                  <a:lnTo>
                    <a:pt x="275986" y="77"/>
                  </a:lnTo>
                  <a:cubicBezTo>
                    <a:pt x="123606" y="38"/>
                    <a:pt x="46" y="123530"/>
                    <a:pt x="0" y="275909"/>
                  </a:cubicBezTo>
                  <a:lnTo>
                    <a:pt x="0" y="275909"/>
                  </a:lnTo>
                  <a:cubicBezTo>
                    <a:pt x="152303" y="275694"/>
                    <a:pt x="275732" y="152303"/>
                    <a:pt x="275986" y="0"/>
                  </a:cubicBezTo>
                </a:path>
              </a:pathLst>
            </a:custGeom>
            <a:solidFill>
              <a:schemeClr val="bg1">
                <a:alpha val="65000"/>
              </a:schemeClr>
            </a:solidFill>
            <a:ln w="7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6" name="Freeform: Shape 465">
              <a:extLst>
                <a:ext uri="{FF2B5EF4-FFF2-40B4-BE49-F238E27FC236}">
                  <a16:creationId xmlns:a16="http://schemas.microsoft.com/office/drawing/2014/main" id="{2ABD1A8A-28F9-4AA7-B8DA-90E415E00549}"/>
                </a:ext>
              </a:extLst>
            </p:cNvPr>
            <p:cNvSpPr/>
            <p:nvPr/>
          </p:nvSpPr>
          <p:spPr>
            <a:xfrm>
              <a:off x="14731971" y="4079668"/>
              <a:ext cx="619832" cy="620695"/>
            </a:xfrm>
            <a:custGeom>
              <a:avLst/>
              <a:gdLst>
                <a:gd name="connsiteX0" fmla="*/ 0 w 275985"/>
                <a:gd name="connsiteY0" fmla="*/ 0 h 276369"/>
                <a:gd name="connsiteX1" fmla="*/ 0 w 275985"/>
                <a:gd name="connsiteY1" fmla="*/ 0 h 276369"/>
                <a:gd name="connsiteX2" fmla="*/ 275986 w 275985"/>
                <a:gd name="connsiteY2" fmla="*/ 276370 h 276369"/>
                <a:gd name="connsiteX3" fmla="*/ 275986 w 275985"/>
                <a:gd name="connsiteY3" fmla="*/ 276370 h 276369"/>
                <a:gd name="connsiteX4" fmla="*/ 0 w 275985"/>
                <a:gd name="connsiteY4" fmla="*/ 537 h 276369"/>
                <a:gd name="connsiteX5" fmla="*/ 0 w 275985"/>
                <a:gd name="connsiteY5" fmla="*/ 0 h 276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5985" h="276369">
                  <a:moveTo>
                    <a:pt x="0" y="0"/>
                  </a:moveTo>
                  <a:lnTo>
                    <a:pt x="0" y="0"/>
                  </a:lnTo>
                  <a:cubicBezTo>
                    <a:pt x="152487" y="215"/>
                    <a:pt x="275986" y="123883"/>
                    <a:pt x="275986" y="276370"/>
                  </a:cubicBezTo>
                  <a:lnTo>
                    <a:pt x="275986" y="276370"/>
                  </a:lnTo>
                  <a:cubicBezTo>
                    <a:pt x="123606" y="276416"/>
                    <a:pt x="46" y="152917"/>
                    <a:pt x="0" y="537"/>
                  </a:cubicBezTo>
                  <a:cubicBezTo>
                    <a:pt x="0" y="361"/>
                    <a:pt x="0" y="177"/>
                    <a:pt x="0" y="0"/>
                  </a:cubicBezTo>
                </a:path>
              </a:pathLst>
            </a:custGeom>
            <a:solidFill>
              <a:schemeClr val="bg1">
                <a:alpha val="60000"/>
              </a:schemeClr>
            </a:solidFill>
            <a:ln w="7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7" name="Freeform: Shape 466">
              <a:extLst>
                <a:ext uri="{FF2B5EF4-FFF2-40B4-BE49-F238E27FC236}">
                  <a16:creationId xmlns:a16="http://schemas.microsoft.com/office/drawing/2014/main" id="{D39693D5-2BBC-429C-A4A1-54EBB9B17197}"/>
                </a:ext>
              </a:extLst>
            </p:cNvPr>
            <p:cNvSpPr/>
            <p:nvPr/>
          </p:nvSpPr>
          <p:spPr>
            <a:xfrm>
              <a:off x="15351803" y="4079668"/>
              <a:ext cx="619662" cy="620695"/>
            </a:xfrm>
            <a:custGeom>
              <a:avLst/>
              <a:gdLst>
                <a:gd name="connsiteX0" fmla="*/ 275909 w 275909"/>
                <a:gd name="connsiteY0" fmla="*/ 0 h 276369"/>
                <a:gd name="connsiteX1" fmla="*/ 275909 w 275909"/>
                <a:gd name="connsiteY1" fmla="*/ 0 h 276369"/>
                <a:gd name="connsiteX2" fmla="*/ 0 w 275909"/>
                <a:gd name="connsiteY2" fmla="*/ 276370 h 276369"/>
                <a:gd name="connsiteX3" fmla="*/ 0 w 275909"/>
                <a:gd name="connsiteY3" fmla="*/ 276370 h 276369"/>
                <a:gd name="connsiteX4" fmla="*/ 275909 w 275909"/>
                <a:gd name="connsiteY4" fmla="*/ 461 h 276369"/>
                <a:gd name="connsiteX5" fmla="*/ 275909 w 275909"/>
                <a:gd name="connsiteY5" fmla="*/ 0 h 276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5909" h="276369">
                  <a:moveTo>
                    <a:pt x="275909" y="0"/>
                  </a:moveTo>
                  <a:lnTo>
                    <a:pt x="275909" y="0"/>
                  </a:lnTo>
                  <a:cubicBezTo>
                    <a:pt x="123453" y="253"/>
                    <a:pt x="0" y="123913"/>
                    <a:pt x="0" y="276370"/>
                  </a:cubicBezTo>
                  <a:lnTo>
                    <a:pt x="0" y="276370"/>
                  </a:lnTo>
                  <a:cubicBezTo>
                    <a:pt x="152379" y="276370"/>
                    <a:pt x="275909" y="152840"/>
                    <a:pt x="275909" y="461"/>
                  </a:cubicBezTo>
                  <a:cubicBezTo>
                    <a:pt x="275909" y="307"/>
                    <a:pt x="275909" y="154"/>
                    <a:pt x="275909" y="0"/>
                  </a:cubicBezTo>
                </a:path>
              </a:pathLst>
            </a:custGeom>
            <a:solidFill>
              <a:schemeClr val="bg1">
                <a:alpha val="60000"/>
              </a:schemeClr>
            </a:solidFill>
            <a:ln w="7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8" name="Freeform: Shape 467">
              <a:extLst>
                <a:ext uri="{FF2B5EF4-FFF2-40B4-BE49-F238E27FC236}">
                  <a16:creationId xmlns:a16="http://schemas.microsoft.com/office/drawing/2014/main" id="{439BFB1F-DD34-4A14-AF43-7DFD6D6D8907}"/>
                </a:ext>
              </a:extLst>
            </p:cNvPr>
            <p:cNvSpPr/>
            <p:nvPr/>
          </p:nvSpPr>
          <p:spPr>
            <a:xfrm>
              <a:off x="15971465" y="4699330"/>
              <a:ext cx="619832" cy="619659"/>
            </a:xfrm>
            <a:custGeom>
              <a:avLst/>
              <a:gdLst>
                <a:gd name="connsiteX0" fmla="*/ 275986 w 275985"/>
                <a:gd name="connsiteY0" fmla="*/ 77 h 275908"/>
                <a:gd name="connsiteX1" fmla="*/ 275986 w 275985"/>
                <a:gd name="connsiteY1" fmla="*/ 77 h 275908"/>
                <a:gd name="connsiteX2" fmla="*/ 0 w 275985"/>
                <a:gd name="connsiteY2" fmla="*/ 275909 h 275908"/>
                <a:gd name="connsiteX3" fmla="*/ 0 w 275985"/>
                <a:gd name="connsiteY3" fmla="*/ 275909 h 275908"/>
                <a:gd name="connsiteX4" fmla="*/ 275986 w 275985"/>
                <a:gd name="connsiteY4" fmla="*/ 0 h 275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5985" h="275908">
                  <a:moveTo>
                    <a:pt x="275986" y="77"/>
                  </a:moveTo>
                  <a:lnTo>
                    <a:pt x="275986" y="77"/>
                  </a:lnTo>
                  <a:cubicBezTo>
                    <a:pt x="123606" y="38"/>
                    <a:pt x="46" y="123530"/>
                    <a:pt x="0" y="275909"/>
                  </a:cubicBezTo>
                  <a:lnTo>
                    <a:pt x="0" y="275909"/>
                  </a:lnTo>
                  <a:cubicBezTo>
                    <a:pt x="152303" y="275694"/>
                    <a:pt x="275732" y="152303"/>
                    <a:pt x="275986" y="0"/>
                  </a:cubicBezTo>
                </a:path>
              </a:pathLst>
            </a:custGeom>
            <a:solidFill>
              <a:schemeClr val="bg1">
                <a:alpha val="65000"/>
              </a:schemeClr>
            </a:solidFill>
            <a:ln w="7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9" name="Freeform: Shape 468">
              <a:extLst>
                <a:ext uri="{FF2B5EF4-FFF2-40B4-BE49-F238E27FC236}">
                  <a16:creationId xmlns:a16="http://schemas.microsoft.com/office/drawing/2014/main" id="{8102D8E5-1302-4C18-93D3-C98D99AC45DD}"/>
                </a:ext>
              </a:extLst>
            </p:cNvPr>
            <p:cNvSpPr/>
            <p:nvPr/>
          </p:nvSpPr>
          <p:spPr>
            <a:xfrm>
              <a:off x="16591300" y="4699330"/>
              <a:ext cx="619662" cy="619659"/>
            </a:xfrm>
            <a:custGeom>
              <a:avLst/>
              <a:gdLst>
                <a:gd name="connsiteX0" fmla="*/ 0 w 275909"/>
                <a:gd name="connsiteY0" fmla="*/ 77 h 275908"/>
                <a:gd name="connsiteX1" fmla="*/ 0 w 275909"/>
                <a:gd name="connsiteY1" fmla="*/ 77 h 275908"/>
                <a:gd name="connsiteX2" fmla="*/ 275909 w 275909"/>
                <a:gd name="connsiteY2" fmla="*/ 275909 h 275908"/>
                <a:gd name="connsiteX3" fmla="*/ 275909 w 275909"/>
                <a:gd name="connsiteY3" fmla="*/ 275909 h 275908"/>
                <a:gd name="connsiteX4" fmla="*/ 0 w 275909"/>
                <a:gd name="connsiteY4" fmla="*/ 0 h 275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5909" h="275908">
                  <a:moveTo>
                    <a:pt x="0" y="77"/>
                  </a:moveTo>
                  <a:lnTo>
                    <a:pt x="0" y="77"/>
                  </a:lnTo>
                  <a:cubicBezTo>
                    <a:pt x="152349" y="77"/>
                    <a:pt x="275863" y="123560"/>
                    <a:pt x="275909" y="275909"/>
                  </a:cubicBezTo>
                  <a:lnTo>
                    <a:pt x="275909" y="275909"/>
                  </a:lnTo>
                  <a:cubicBezTo>
                    <a:pt x="123530" y="275909"/>
                    <a:pt x="0" y="152379"/>
                    <a:pt x="0" y="0"/>
                  </a:cubicBezTo>
                </a:path>
              </a:pathLst>
            </a:custGeom>
            <a:solidFill>
              <a:schemeClr val="bg1">
                <a:alpha val="65000"/>
              </a:schemeClr>
            </a:solidFill>
            <a:ln w="7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0" name="Freeform: Shape 469">
              <a:extLst>
                <a:ext uri="{FF2B5EF4-FFF2-40B4-BE49-F238E27FC236}">
                  <a16:creationId xmlns:a16="http://schemas.microsoft.com/office/drawing/2014/main" id="{BE28E244-B2AF-4E0C-9D20-5E09ADAA0FC3}"/>
                </a:ext>
              </a:extLst>
            </p:cNvPr>
            <p:cNvSpPr/>
            <p:nvPr/>
          </p:nvSpPr>
          <p:spPr>
            <a:xfrm>
              <a:off x="16591300" y="4079668"/>
              <a:ext cx="619662" cy="620695"/>
            </a:xfrm>
            <a:custGeom>
              <a:avLst/>
              <a:gdLst>
                <a:gd name="connsiteX0" fmla="*/ 275909 w 275909"/>
                <a:gd name="connsiteY0" fmla="*/ 0 h 276369"/>
                <a:gd name="connsiteX1" fmla="*/ 275909 w 275909"/>
                <a:gd name="connsiteY1" fmla="*/ 0 h 276369"/>
                <a:gd name="connsiteX2" fmla="*/ 0 w 275909"/>
                <a:gd name="connsiteY2" fmla="*/ 276370 h 276369"/>
                <a:gd name="connsiteX3" fmla="*/ 0 w 275909"/>
                <a:gd name="connsiteY3" fmla="*/ 276370 h 276369"/>
                <a:gd name="connsiteX4" fmla="*/ 275909 w 275909"/>
                <a:gd name="connsiteY4" fmla="*/ 461 h 276369"/>
                <a:gd name="connsiteX5" fmla="*/ 275909 w 275909"/>
                <a:gd name="connsiteY5" fmla="*/ 0 h 276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5909" h="276369">
                  <a:moveTo>
                    <a:pt x="275909" y="0"/>
                  </a:moveTo>
                  <a:lnTo>
                    <a:pt x="275909" y="0"/>
                  </a:lnTo>
                  <a:cubicBezTo>
                    <a:pt x="123453" y="253"/>
                    <a:pt x="0" y="123913"/>
                    <a:pt x="0" y="276370"/>
                  </a:cubicBezTo>
                  <a:lnTo>
                    <a:pt x="0" y="276370"/>
                  </a:lnTo>
                  <a:cubicBezTo>
                    <a:pt x="152379" y="276370"/>
                    <a:pt x="275909" y="152840"/>
                    <a:pt x="275909" y="461"/>
                  </a:cubicBezTo>
                  <a:cubicBezTo>
                    <a:pt x="275909" y="307"/>
                    <a:pt x="275909" y="154"/>
                    <a:pt x="275909" y="0"/>
                  </a:cubicBezTo>
                </a:path>
              </a:pathLst>
            </a:custGeom>
            <a:solidFill>
              <a:schemeClr val="bg1">
                <a:alpha val="60000"/>
              </a:schemeClr>
            </a:solidFill>
            <a:ln w="7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1" name="Freeform: Shape 470">
              <a:extLst>
                <a:ext uri="{FF2B5EF4-FFF2-40B4-BE49-F238E27FC236}">
                  <a16:creationId xmlns:a16="http://schemas.microsoft.com/office/drawing/2014/main" id="{AFC42648-BCEF-4C4B-996B-F99A37E7E336}"/>
                </a:ext>
              </a:extLst>
            </p:cNvPr>
            <p:cNvSpPr/>
            <p:nvPr/>
          </p:nvSpPr>
          <p:spPr>
            <a:xfrm>
              <a:off x="17210961" y="4079668"/>
              <a:ext cx="620695" cy="620695"/>
            </a:xfrm>
            <a:custGeom>
              <a:avLst/>
              <a:gdLst>
                <a:gd name="connsiteX0" fmla="*/ 0 w 276369"/>
                <a:gd name="connsiteY0" fmla="*/ 0 h 276369"/>
                <a:gd name="connsiteX1" fmla="*/ 0 w 276369"/>
                <a:gd name="connsiteY1" fmla="*/ 0 h 276369"/>
                <a:gd name="connsiteX2" fmla="*/ 276370 w 276369"/>
                <a:gd name="connsiteY2" fmla="*/ 276370 h 276369"/>
                <a:gd name="connsiteX3" fmla="*/ 276370 w 276369"/>
                <a:gd name="connsiteY3" fmla="*/ 276370 h 276369"/>
                <a:gd name="connsiteX4" fmla="*/ 0 w 276369"/>
                <a:gd name="connsiteY4" fmla="*/ 921 h 276369"/>
                <a:gd name="connsiteX5" fmla="*/ 0 w 276369"/>
                <a:gd name="connsiteY5" fmla="*/ 0 h 276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6369" h="276369">
                  <a:moveTo>
                    <a:pt x="0" y="0"/>
                  </a:moveTo>
                  <a:lnTo>
                    <a:pt x="0" y="0"/>
                  </a:lnTo>
                  <a:cubicBezTo>
                    <a:pt x="152633" y="0"/>
                    <a:pt x="276370" y="123737"/>
                    <a:pt x="276370" y="276370"/>
                  </a:cubicBezTo>
                  <a:lnTo>
                    <a:pt x="276370" y="276370"/>
                  </a:lnTo>
                  <a:cubicBezTo>
                    <a:pt x="123990" y="276623"/>
                    <a:pt x="253" y="153301"/>
                    <a:pt x="0" y="921"/>
                  </a:cubicBezTo>
                  <a:cubicBezTo>
                    <a:pt x="0" y="614"/>
                    <a:pt x="0" y="307"/>
                    <a:pt x="0" y="0"/>
                  </a:cubicBezTo>
                </a:path>
              </a:pathLst>
            </a:custGeom>
            <a:solidFill>
              <a:schemeClr val="bg1">
                <a:alpha val="60000"/>
              </a:schemeClr>
            </a:solidFill>
            <a:ln w="7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2" name="Freeform: Shape 471">
              <a:extLst>
                <a:ext uri="{FF2B5EF4-FFF2-40B4-BE49-F238E27FC236}">
                  <a16:creationId xmlns:a16="http://schemas.microsoft.com/office/drawing/2014/main" id="{528524C8-E248-47BB-8044-369B045060D4}"/>
                </a:ext>
              </a:extLst>
            </p:cNvPr>
            <p:cNvSpPr/>
            <p:nvPr/>
          </p:nvSpPr>
          <p:spPr>
            <a:xfrm>
              <a:off x="12872813" y="3460006"/>
              <a:ext cx="619662" cy="619659"/>
            </a:xfrm>
            <a:custGeom>
              <a:avLst/>
              <a:gdLst>
                <a:gd name="connsiteX0" fmla="*/ 0 w 275909"/>
                <a:gd name="connsiteY0" fmla="*/ 0 h 275908"/>
                <a:gd name="connsiteX1" fmla="*/ 0 w 275909"/>
                <a:gd name="connsiteY1" fmla="*/ 0 h 275908"/>
                <a:gd name="connsiteX2" fmla="*/ 275909 w 275909"/>
                <a:gd name="connsiteY2" fmla="*/ 275909 h 275908"/>
                <a:gd name="connsiteX3" fmla="*/ 275909 w 275909"/>
                <a:gd name="connsiteY3" fmla="*/ 275909 h 275908"/>
                <a:gd name="connsiteX4" fmla="*/ 0 w 275909"/>
                <a:gd name="connsiteY4" fmla="*/ 0 h 275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5909" h="275908">
                  <a:moveTo>
                    <a:pt x="0" y="0"/>
                  </a:moveTo>
                  <a:lnTo>
                    <a:pt x="0" y="0"/>
                  </a:lnTo>
                  <a:cubicBezTo>
                    <a:pt x="152379" y="0"/>
                    <a:pt x="275909" y="123530"/>
                    <a:pt x="275909" y="275909"/>
                  </a:cubicBezTo>
                  <a:lnTo>
                    <a:pt x="275909" y="275909"/>
                  </a:lnTo>
                  <a:cubicBezTo>
                    <a:pt x="123530" y="275909"/>
                    <a:pt x="0" y="152379"/>
                    <a:pt x="0" y="0"/>
                  </a:cubicBezTo>
                </a:path>
              </a:pathLst>
            </a:custGeom>
            <a:solidFill>
              <a:schemeClr val="bg1">
                <a:alpha val="50000"/>
              </a:schemeClr>
            </a:solidFill>
            <a:ln w="7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3" name="Freeform: Shape 472">
              <a:extLst>
                <a:ext uri="{FF2B5EF4-FFF2-40B4-BE49-F238E27FC236}">
                  <a16:creationId xmlns:a16="http://schemas.microsoft.com/office/drawing/2014/main" id="{791CF6B5-0E26-46CD-A443-DE45D8603C5B}"/>
                </a:ext>
              </a:extLst>
            </p:cNvPr>
            <p:cNvSpPr/>
            <p:nvPr/>
          </p:nvSpPr>
          <p:spPr>
            <a:xfrm>
              <a:off x="13491612" y="3460006"/>
              <a:ext cx="620695" cy="619662"/>
            </a:xfrm>
            <a:custGeom>
              <a:avLst/>
              <a:gdLst>
                <a:gd name="connsiteX0" fmla="*/ 276370 w 276369"/>
                <a:gd name="connsiteY0" fmla="*/ 0 h 275909"/>
                <a:gd name="connsiteX1" fmla="*/ 276370 w 276369"/>
                <a:gd name="connsiteY1" fmla="*/ 0 h 275909"/>
                <a:gd name="connsiteX2" fmla="*/ 0 w 276369"/>
                <a:gd name="connsiteY2" fmla="*/ 275449 h 275909"/>
                <a:gd name="connsiteX3" fmla="*/ 0 w 276369"/>
                <a:gd name="connsiteY3" fmla="*/ 275909 h 275909"/>
                <a:gd name="connsiteX4" fmla="*/ 0 w 276369"/>
                <a:gd name="connsiteY4" fmla="*/ 275909 h 275909"/>
                <a:gd name="connsiteX5" fmla="*/ 276370 w 276369"/>
                <a:gd name="connsiteY5" fmla="*/ 0 h 275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6369" h="275909">
                  <a:moveTo>
                    <a:pt x="276370" y="0"/>
                  </a:moveTo>
                  <a:lnTo>
                    <a:pt x="276370" y="0"/>
                  </a:lnTo>
                  <a:cubicBezTo>
                    <a:pt x="123990" y="-253"/>
                    <a:pt x="253" y="123069"/>
                    <a:pt x="0" y="275449"/>
                  </a:cubicBezTo>
                  <a:cubicBezTo>
                    <a:pt x="0" y="275602"/>
                    <a:pt x="0" y="275756"/>
                    <a:pt x="0" y="275909"/>
                  </a:cubicBezTo>
                  <a:lnTo>
                    <a:pt x="0" y="275909"/>
                  </a:lnTo>
                  <a:cubicBezTo>
                    <a:pt x="152456" y="275909"/>
                    <a:pt x="276116" y="152457"/>
                    <a:pt x="276370" y="0"/>
                  </a:cubicBezTo>
                </a:path>
              </a:pathLst>
            </a:custGeom>
            <a:solidFill>
              <a:schemeClr val="bg1">
                <a:alpha val="50000"/>
              </a:schemeClr>
            </a:solidFill>
            <a:ln w="7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4" name="Freeform: Shape 473">
              <a:extLst>
                <a:ext uri="{FF2B5EF4-FFF2-40B4-BE49-F238E27FC236}">
                  <a16:creationId xmlns:a16="http://schemas.microsoft.com/office/drawing/2014/main" id="{7C963C81-9C94-4641-A688-E10541CE6CED}"/>
                </a:ext>
              </a:extLst>
            </p:cNvPr>
            <p:cNvSpPr/>
            <p:nvPr/>
          </p:nvSpPr>
          <p:spPr>
            <a:xfrm>
              <a:off x="14731971" y="3460006"/>
              <a:ext cx="619832" cy="619662"/>
            </a:xfrm>
            <a:custGeom>
              <a:avLst/>
              <a:gdLst>
                <a:gd name="connsiteX0" fmla="*/ 275986 w 275985"/>
                <a:gd name="connsiteY0" fmla="*/ 0 h 275909"/>
                <a:gd name="connsiteX1" fmla="*/ 275986 w 275985"/>
                <a:gd name="connsiteY1" fmla="*/ 0 h 275909"/>
                <a:gd name="connsiteX2" fmla="*/ 0 w 275985"/>
                <a:gd name="connsiteY2" fmla="*/ 275832 h 275909"/>
                <a:gd name="connsiteX3" fmla="*/ 0 w 275985"/>
                <a:gd name="connsiteY3" fmla="*/ 275909 h 275909"/>
                <a:gd name="connsiteX4" fmla="*/ 0 w 275985"/>
                <a:gd name="connsiteY4" fmla="*/ 275909 h 275909"/>
                <a:gd name="connsiteX5" fmla="*/ 275986 w 275985"/>
                <a:gd name="connsiteY5" fmla="*/ 0 h 275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5985" h="275909">
                  <a:moveTo>
                    <a:pt x="275986" y="0"/>
                  </a:moveTo>
                  <a:lnTo>
                    <a:pt x="275986" y="0"/>
                  </a:lnTo>
                  <a:cubicBezTo>
                    <a:pt x="123606" y="-46"/>
                    <a:pt x="46" y="123453"/>
                    <a:pt x="0" y="275832"/>
                  </a:cubicBezTo>
                  <a:cubicBezTo>
                    <a:pt x="0" y="275855"/>
                    <a:pt x="0" y="275886"/>
                    <a:pt x="0" y="275909"/>
                  </a:cubicBezTo>
                  <a:lnTo>
                    <a:pt x="0" y="275909"/>
                  </a:lnTo>
                  <a:cubicBezTo>
                    <a:pt x="152303" y="275694"/>
                    <a:pt x="275732" y="152303"/>
                    <a:pt x="275986" y="0"/>
                  </a:cubicBezTo>
                </a:path>
              </a:pathLst>
            </a:custGeom>
            <a:solidFill>
              <a:schemeClr val="bg1">
                <a:alpha val="50000"/>
              </a:schemeClr>
            </a:solidFill>
            <a:ln w="7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5" name="Freeform: Shape 474">
              <a:extLst>
                <a:ext uri="{FF2B5EF4-FFF2-40B4-BE49-F238E27FC236}">
                  <a16:creationId xmlns:a16="http://schemas.microsoft.com/office/drawing/2014/main" id="{A130FA9F-9034-4737-918E-1E53E59E0265}"/>
                </a:ext>
              </a:extLst>
            </p:cNvPr>
            <p:cNvSpPr/>
            <p:nvPr/>
          </p:nvSpPr>
          <p:spPr>
            <a:xfrm>
              <a:off x="16591300" y="2840174"/>
              <a:ext cx="619662" cy="619832"/>
            </a:xfrm>
            <a:custGeom>
              <a:avLst/>
              <a:gdLst>
                <a:gd name="connsiteX0" fmla="*/ 275909 w 275909"/>
                <a:gd name="connsiteY0" fmla="*/ 0 h 275985"/>
                <a:gd name="connsiteX1" fmla="*/ 275909 w 275909"/>
                <a:gd name="connsiteY1" fmla="*/ 0 h 275985"/>
                <a:gd name="connsiteX2" fmla="*/ 0 w 275909"/>
                <a:gd name="connsiteY2" fmla="*/ 275909 h 275985"/>
                <a:gd name="connsiteX3" fmla="*/ 0 w 275909"/>
                <a:gd name="connsiteY3" fmla="*/ 275986 h 275985"/>
                <a:gd name="connsiteX4" fmla="*/ 0 w 275909"/>
                <a:gd name="connsiteY4" fmla="*/ 275986 h 275985"/>
                <a:gd name="connsiteX5" fmla="*/ 275909 w 275909"/>
                <a:gd name="connsiteY5" fmla="*/ 0 h 275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5909" h="275985">
                  <a:moveTo>
                    <a:pt x="275909" y="0"/>
                  </a:moveTo>
                  <a:lnTo>
                    <a:pt x="275909" y="0"/>
                  </a:lnTo>
                  <a:cubicBezTo>
                    <a:pt x="123530" y="0"/>
                    <a:pt x="0" y="123529"/>
                    <a:pt x="0" y="275909"/>
                  </a:cubicBezTo>
                  <a:cubicBezTo>
                    <a:pt x="0" y="275932"/>
                    <a:pt x="0" y="275963"/>
                    <a:pt x="0" y="275986"/>
                  </a:cubicBezTo>
                  <a:lnTo>
                    <a:pt x="0" y="275986"/>
                  </a:lnTo>
                  <a:cubicBezTo>
                    <a:pt x="152303" y="275732"/>
                    <a:pt x="275694" y="152302"/>
                    <a:pt x="275909" y="0"/>
                  </a:cubicBezTo>
                </a:path>
              </a:pathLst>
            </a:custGeom>
            <a:solidFill>
              <a:schemeClr val="bg1">
                <a:alpha val="40000"/>
              </a:schemeClr>
            </a:solidFill>
            <a:ln w="7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6" name="Freeform: Shape 475">
              <a:extLst>
                <a:ext uri="{FF2B5EF4-FFF2-40B4-BE49-F238E27FC236}">
                  <a16:creationId xmlns:a16="http://schemas.microsoft.com/office/drawing/2014/main" id="{7F9DF2CB-2E33-4AF4-9FCA-003E69E01995}"/>
                </a:ext>
              </a:extLst>
            </p:cNvPr>
            <p:cNvSpPr/>
            <p:nvPr/>
          </p:nvSpPr>
          <p:spPr>
            <a:xfrm>
              <a:off x="17210961" y="2840174"/>
              <a:ext cx="620695" cy="619832"/>
            </a:xfrm>
            <a:custGeom>
              <a:avLst/>
              <a:gdLst>
                <a:gd name="connsiteX0" fmla="*/ 0 w 276369"/>
                <a:gd name="connsiteY0" fmla="*/ 0 h 275985"/>
                <a:gd name="connsiteX1" fmla="*/ 0 w 276369"/>
                <a:gd name="connsiteY1" fmla="*/ 0 h 275985"/>
                <a:gd name="connsiteX2" fmla="*/ 276370 w 276369"/>
                <a:gd name="connsiteY2" fmla="*/ 275986 h 275985"/>
                <a:gd name="connsiteX3" fmla="*/ 276370 w 276369"/>
                <a:gd name="connsiteY3" fmla="*/ 275986 h 275985"/>
                <a:gd name="connsiteX4" fmla="*/ 0 w 276369"/>
                <a:gd name="connsiteY4" fmla="*/ 0 h 275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6369" h="275985">
                  <a:moveTo>
                    <a:pt x="0" y="0"/>
                  </a:moveTo>
                  <a:lnTo>
                    <a:pt x="0" y="0"/>
                  </a:lnTo>
                  <a:cubicBezTo>
                    <a:pt x="152487" y="0"/>
                    <a:pt x="276155" y="123499"/>
                    <a:pt x="276370" y="275986"/>
                  </a:cubicBezTo>
                  <a:lnTo>
                    <a:pt x="276370" y="275986"/>
                  </a:lnTo>
                  <a:cubicBezTo>
                    <a:pt x="123883" y="275986"/>
                    <a:pt x="215" y="152487"/>
                    <a:pt x="0" y="0"/>
                  </a:cubicBezTo>
                </a:path>
              </a:pathLst>
            </a:custGeom>
            <a:solidFill>
              <a:schemeClr val="bg1">
                <a:alpha val="40000"/>
              </a:schemeClr>
            </a:solidFill>
            <a:ln w="7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7" name="Freeform: Shape 476">
              <a:extLst>
                <a:ext uri="{FF2B5EF4-FFF2-40B4-BE49-F238E27FC236}">
                  <a16:creationId xmlns:a16="http://schemas.microsoft.com/office/drawing/2014/main" id="{46D2F3F2-F61D-4F08-9B17-F12BF38E06AB}"/>
                </a:ext>
              </a:extLst>
            </p:cNvPr>
            <p:cNvSpPr/>
            <p:nvPr/>
          </p:nvSpPr>
          <p:spPr>
            <a:xfrm>
              <a:off x="17830796" y="2840174"/>
              <a:ext cx="619662" cy="619832"/>
            </a:xfrm>
            <a:custGeom>
              <a:avLst/>
              <a:gdLst>
                <a:gd name="connsiteX0" fmla="*/ 275909 w 275909"/>
                <a:gd name="connsiteY0" fmla="*/ 0 h 275985"/>
                <a:gd name="connsiteX1" fmla="*/ 275909 w 275909"/>
                <a:gd name="connsiteY1" fmla="*/ 0 h 275985"/>
                <a:gd name="connsiteX2" fmla="*/ 0 w 275909"/>
                <a:gd name="connsiteY2" fmla="*/ 275909 h 275985"/>
                <a:gd name="connsiteX3" fmla="*/ 0 w 275909"/>
                <a:gd name="connsiteY3" fmla="*/ 275986 h 275985"/>
                <a:gd name="connsiteX4" fmla="*/ 0 w 275909"/>
                <a:gd name="connsiteY4" fmla="*/ 275986 h 275985"/>
                <a:gd name="connsiteX5" fmla="*/ 275909 w 275909"/>
                <a:gd name="connsiteY5" fmla="*/ 0 h 275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5909" h="275985">
                  <a:moveTo>
                    <a:pt x="275909" y="0"/>
                  </a:moveTo>
                  <a:lnTo>
                    <a:pt x="275909" y="0"/>
                  </a:lnTo>
                  <a:cubicBezTo>
                    <a:pt x="123530" y="0"/>
                    <a:pt x="0" y="123529"/>
                    <a:pt x="0" y="275909"/>
                  </a:cubicBezTo>
                  <a:cubicBezTo>
                    <a:pt x="0" y="275932"/>
                    <a:pt x="0" y="275963"/>
                    <a:pt x="0" y="275986"/>
                  </a:cubicBezTo>
                  <a:lnTo>
                    <a:pt x="0" y="275986"/>
                  </a:lnTo>
                  <a:cubicBezTo>
                    <a:pt x="152303" y="275732"/>
                    <a:pt x="275694" y="152302"/>
                    <a:pt x="275909" y="0"/>
                  </a:cubicBezTo>
                </a:path>
              </a:pathLst>
            </a:custGeom>
            <a:solidFill>
              <a:schemeClr val="bg1">
                <a:alpha val="40000"/>
              </a:schemeClr>
            </a:solidFill>
            <a:ln w="7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8" name="Freeform: Shape 477">
              <a:extLst>
                <a:ext uri="{FF2B5EF4-FFF2-40B4-BE49-F238E27FC236}">
                  <a16:creationId xmlns:a16="http://schemas.microsoft.com/office/drawing/2014/main" id="{5F33346A-6745-490C-A67B-F4C050687C31}"/>
                </a:ext>
              </a:extLst>
            </p:cNvPr>
            <p:cNvSpPr/>
            <p:nvPr userDrawn="1"/>
          </p:nvSpPr>
          <p:spPr>
            <a:xfrm>
              <a:off x="18450458" y="2840174"/>
              <a:ext cx="619832" cy="619832"/>
            </a:xfrm>
            <a:custGeom>
              <a:avLst/>
              <a:gdLst>
                <a:gd name="connsiteX0" fmla="*/ 0 w 275985"/>
                <a:gd name="connsiteY0" fmla="*/ 0 h 275985"/>
                <a:gd name="connsiteX1" fmla="*/ 0 w 275985"/>
                <a:gd name="connsiteY1" fmla="*/ 0 h 275985"/>
                <a:gd name="connsiteX2" fmla="*/ 275986 w 275985"/>
                <a:gd name="connsiteY2" fmla="*/ 275986 h 275985"/>
                <a:gd name="connsiteX3" fmla="*/ 275986 w 275985"/>
                <a:gd name="connsiteY3" fmla="*/ 275986 h 275985"/>
                <a:gd name="connsiteX4" fmla="*/ 0 w 275985"/>
                <a:gd name="connsiteY4" fmla="*/ 0 h 275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5985" h="275985">
                  <a:moveTo>
                    <a:pt x="0" y="0"/>
                  </a:moveTo>
                  <a:lnTo>
                    <a:pt x="0" y="0"/>
                  </a:lnTo>
                  <a:cubicBezTo>
                    <a:pt x="152333" y="215"/>
                    <a:pt x="275771" y="123652"/>
                    <a:pt x="275986" y="275986"/>
                  </a:cubicBezTo>
                  <a:lnTo>
                    <a:pt x="275986" y="275986"/>
                  </a:lnTo>
                  <a:cubicBezTo>
                    <a:pt x="123652" y="275771"/>
                    <a:pt x="215" y="152333"/>
                    <a:pt x="0" y="0"/>
                  </a:cubicBezTo>
                </a:path>
              </a:pathLst>
            </a:custGeom>
            <a:solidFill>
              <a:schemeClr val="bg1">
                <a:alpha val="40000"/>
              </a:schemeClr>
            </a:solidFill>
            <a:ln w="7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7119384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 Text_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108357-E902-46FC-A995-CBB8C57520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FAA29ED-B081-445A-951A-0F0F2A5FFE0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GB"/>
              <a:t>CLASSIFICATION: Internal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8331B6-DEC4-4CB5-B89B-673584AD34C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9C47F3-E74D-462A-9E9A-E7164C68AF7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2D1304B-6F7E-4EC7-BF42-5A81617C3CE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1240916"/>
            <a:ext cx="3557016" cy="400110"/>
          </a:xfrm>
        </p:spPr>
        <p:txBody>
          <a:bodyPr/>
          <a:lstStyle>
            <a:lvl1pPr>
              <a:defRPr b="1">
                <a:solidFill>
                  <a:srgbClr val="488021"/>
                </a:solidFill>
              </a:defRPr>
            </a:lvl1pPr>
            <a:lvl2pPr>
              <a:defRPr b="1">
                <a:solidFill>
                  <a:srgbClr val="245C73"/>
                </a:solidFill>
              </a:defRPr>
            </a:lvl2pPr>
            <a:lvl3pPr>
              <a:defRPr b="1">
                <a:solidFill>
                  <a:srgbClr val="245C73"/>
                </a:solidFill>
              </a:defRPr>
            </a:lvl3pPr>
            <a:lvl4pPr>
              <a:defRPr b="1">
                <a:solidFill>
                  <a:srgbClr val="245C73"/>
                </a:solidFill>
              </a:defRPr>
            </a:lvl4pPr>
            <a:lvl5pPr>
              <a:defRPr b="1">
                <a:solidFill>
                  <a:srgbClr val="245C73"/>
                </a:solidFill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7CD833C-3221-4EFA-882C-80EB25F946A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1" y="1641026"/>
            <a:ext cx="3557016" cy="3694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25C17EBA-CEDD-41DA-8E8F-12F1A62933B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7492" y="1240916"/>
            <a:ext cx="3557016" cy="400110"/>
          </a:xfrm>
        </p:spPr>
        <p:txBody>
          <a:bodyPr/>
          <a:lstStyle>
            <a:lvl1pPr>
              <a:defRPr b="1">
                <a:solidFill>
                  <a:srgbClr val="488021"/>
                </a:solidFill>
              </a:defRPr>
            </a:lvl1pPr>
            <a:lvl2pPr>
              <a:defRPr b="1">
                <a:solidFill>
                  <a:srgbClr val="245C73"/>
                </a:solidFill>
              </a:defRPr>
            </a:lvl2pPr>
            <a:lvl3pPr>
              <a:defRPr b="1">
                <a:solidFill>
                  <a:srgbClr val="245C73"/>
                </a:solidFill>
              </a:defRPr>
            </a:lvl3pPr>
            <a:lvl4pPr>
              <a:defRPr b="1">
                <a:solidFill>
                  <a:srgbClr val="245C73"/>
                </a:solidFill>
              </a:defRPr>
            </a:lvl4pPr>
            <a:lvl5pPr>
              <a:defRPr b="1">
                <a:solidFill>
                  <a:srgbClr val="245C73"/>
                </a:solidFill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61984772-C4E2-4CC4-97BE-A8C75F86FBD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17492" y="1641026"/>
            <a:ext cx="3557016" cy="3694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C60F9B3E-DF29-4EA7-9C1F-7129CABCF20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30182" y="1240916"/>
            <a:ext cx="3557016" cy="400110"/>
          </a:xfrm>
        </p:spPr>
        <p:txBody>
          <a:bodyPr/>
          <a:lstStyle>
            <a:lvl1pPr>
              <a:defRPr b="1">
                <a:solidFill>
                  <a:srgbClr val="488021"/>
                </a:solidFill>
              </a:defRPr>
            </a:lvl1pPr>
            <a:lvl2pPr>
              <a:defRPr b="1">
                <a:solidFill>
                  <a:srgbClr val="245C73"/>
                </a:solidFill>
              </a:defRPr>
            </a:lvl2pPr>
            <a:lvl3pPr>
              <a:defRPr b="1">
                <a:solidFill>
                  <a:srgbClr val="245C73"/>
                </a:solidFill>
              </a:defRPr>
            </a:lvl3pPr>
            <a:lvl4pPr>
              <a:defRPr b="1">
                <a:solidFill>
                  <a:srgbClr val="245C73"/>
                </a:solidFill>
              </a:defRPr>
            </a:lvl4pPr>
            <a:lvl5pPr>
              <a:defRPr b="1">
                <a:solidFill>
                  <a:srgbClr val="245C73"/>
                </a:solidFill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9B050A96-D379-4837-8498-BC78FE1D09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30182" y="1641026"/>
            <a:ext cx="3557016" cy="3694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8917A817-E803-4FD7-9261-6328EEEAA0A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04800" y="5423153"/>
            <a:ext cx="11582400" cy="475488"/>
          </a:xfrm>
          <a:solidFill>
            <a:schemeClr val="accent6"/>
          </a:solidFill>
        </p:spPr>
        <p:txBody>
          <a:bodyPr anchor="ctr"/>
          <a:lstStyle>
            <a:lvl1pPr algn="ctr">
              <a:spcBef>
                <a:spcPts val="0"/>
              </a:spcBef>
              <a:defRPr sz="1600" b="1"/>
            </a:lvl1pPr>
          </a:lstStyle>
          <a:p>
            <a:pPr lvl="0"/>
            <a:r>
              <a:rPr lang="en-US"/>
              <a:t>Takeaway message</a:t>
            </a:r>
            <a:endParaRPr lang="en-GB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C925F80-13B6-4A9B-9722-830D2AA591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04800" y="5988049"/>
            <a:ext cx="11582400" cy="260350"/>
          </a:xfrm>
        </p:spPr>
        <p:txBody>
          <a:bodyPr anchor="b"/>
          <a:lstStyle>
            <a:lvl1pPr>
              <a:spcBef>
                <a:spcPts val="0"/>
              </a:spcBef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Source: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33352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 Text_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108357-E902-46FC-A995-CBB8C57520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FAA29ED-B081-445A-951A-0F0F2A5FFE0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GB"/>
              <a:t>CLASSIFICATION: Internal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8331B6-DEC4-4CB5-B89B-673584AD34C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9C47F3-E74D-462A-9E9A-E7164C68AF7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2D1304B-6F7E-4EC7-BF42-5A81617C3CE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1240916"/>
            <a:ext cx="2560320" cy="400110"/>
          </a:xfrm>
        </p:spPr>
        <p:txBody>
          <a:bodyPr/>
          <a:lstStyle>
            <a:lvl1pPr>
              <a:defRPr b="1">
                <a:solidFill>
                  <a:srgbClr val="488021"/>
                </a:solidFill>
              </a:defRPr>
            </a:lvl1pPr>
            <a:lvl2pPr>
              <a:defRPr b="1">
                <a:solidFill>
                  <a:srgbClr val="245C73"/>
                </a:solidFill>
              </a:defRPr>
            </a:lvl2pPr>
            <a:lvl3pPr>
              <a:defRPr b="1">
                <a:solidFill>
                  <a:srgbClr val="245C73"/>
                </a:solidFill>
              </a:defRPr>
            </a:lvl3pPr>
            <a:lvl4pPr>
              <a:defRPr b="1">
                <a:solidFill>
                  <a:srgbClr val="245C73"/>
                </a:solidFill>
              </a:defRPr>
            </a:lvl4pPr>
            <a:lvl5pPr>
              <a:defRPr b="1">
                <a:solidFill>
                  <a:srgbClr val="245C73"/>
                </a:solidFill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7CD833C-3221-4EFA-882C-80EB25F946A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1" y="1641026"/>
            <a:ext cx="2560320" cy="3694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25C17EBA-CEDD-41DA-8E8F-12F1A62933B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12159" y="1240916"/>
            <a:ext cx="2560320" cy="400110"/>
          </a:xfrm>
        </p:spPr>
        <p:txBody>
          <a:bodyPr/>
          <a:lstStyle>
            <a:lvl1pPr>
              <a:defRPr b="1">
                <a:solidFill>
                  <a:srgbClr val="488021"/>
                </a:solidFill>
              </a:defRPr>
            </a:lvl1pPr>
            <a:lvl2pPr>
              <a:defRPr b="1">
                <a:solidFill>
                  <a:srgbClr val="245C73"/>
                </a:solidFill>
              </a:defRPr>
            </a:lvl2pPr>
            <a:lvl3pPr>
              <a:defRPr b="1">
                <a:solidFill>
                  <a:srgbClr val="245C73"/>
                </a:solidFill>
              </a:defRPr>
            </a:lvl3pPr>
            <a:lvl4pPr>
              <a:defRPr b="1">
                <a:solidFill>
                  <a:srgbClr val="245C73"/>
                </a:solidFill>
              </a:defRPr>
            </a:lvl4pPr>
            <a:lvl5pPr>
              <a:defRPr b="1">
                <a:solidFill>
                  <a:srgbClr val="245C73"/>
                </a:solidFill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61984772-C4E2-4CC4-97BE-A8C75F86FBD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12160" y="1641026"/>
            <a:ext cx="2560320" cy="3694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C60F9B3E-DF29-4EA7-9C1F-7129CABCF20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9518" y="1240916"/>
            <a:ext cx="2560320" cy="400110"/>
          </a:xfrm>
        </p:spPr>
        <p:txBody>
          <a:bodyPr/>
          <a:lstStyle>
            <a:lvl1pPr>
              <a:defRPr b="1">
                <a:solidFill>
                  <a:srgbClr val="488021"/>
                </a:solidFill>
              </a:defRPr>
            </a:lvl1pPr>
            <a:lvl2pPr>
              <a:defRPr b="1">
                <a:solidFill>
                  <a:srgbClr val="245C73"/>
                </a:solidFill>
              </a:defRPr>
            </a:lvl2pPr>
            <a:lvl3pPr>
              <a:defRPr b="1">
                <a:solidFill>
                  <a:srgbClr val="245C73"/>
                </a:solidFill>
              </a:defRPr>
            </a:lvl3pPr>
            <a:lvl4pPr>
              <a:defRPr b="1">
                <a:solidFill>
                  <a:srgbClr val="245C73"/>
                </a:solidFill>
              </a:defRPr>
            </a:lvl4pPr>
            <a:lvl5pPr>
              <a:defRPr b="1">
                <a:solidFill>
                  <a:srgbClr val="245C73"/>
                </a:solidFill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9B050A96-D379-4837-8498-BC78FE1D09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19519" y="1641026"/>
            <a:ext cx="2560320" cy="3694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E8B0C802-2B78-49B1-B9E8-01C2DC98FF7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326878" y="1240916"/>
            <a:ext cx="2560320" cy="400110"/>
          </a:xfrm>
        </p:spPr>
        <p:txBody>
          <a:bodyPr/>
          <a:lstStyle>
            <a:lvl1pPr>
              <a:defRPr b="1">
                <a:solidFill>
                  <a:srgbClr val="488021"/>
                </a:solidFill>
              </a:defRPr>
            </a:lvl1pPr>
            <a:lvl2pPr>
              <a:defRPr b="1">
                <a:solidFill>
                  <a:srgbClr val="245C73"/>
                </a:solidFill>
              </a:defRPr>
            </a:lvl2pPr>
            <a:lvl3pPr>
              <a:defRPr b="1">
                <a:solidFill>
                  <a:srgbClr val="245C73"/>
                </a:solidFill>
              </a:defRPr>
            </a:lvl3pPr>
            <a:lvl4pPr>
              <a:defRPr b="1">
                <a:solidFill>
                  <a:srgbClr val="245C73"/>
                </a:solidFill>
              </a:defRPr>
            </a:lvl4pPr>
            <a:lvl5pPr>
              <a:defRPr b="1">
                <a:solidFill>
                  <a:srgbClr val="245C73"/>
                </a:solidFill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ACCD8FB4-C033-4EDA-BB1F-9FB4498E3A0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326878" y="1641026"/>
            <a:ext cx="2560320" cy="3694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6F526E78-45E2-424D-A646-100D1B505CD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04800" y="5423153"/>
            <a:ext cx="11582400" cy="475488"/>
          </a:xfrm>
          <a:solidFill>
            <a:schemeClr val="accent6"/>
          </a:solidFill>
        </p:spPr>
        <p:txBody>
          <a:bodyPr anchor="ctr"/>
          <a:lstStyle>
            <a:lvl1pPr algn="ctr">
              <a:spcBef>
                <a:spcPts val="0"/>
              </a:spcBef>
              <a:defRPr sz="1600" b="1"/>
            </a:lvl1pPr>
          </a:lstStyle>
          <a:p>
            <a:pPr lvl="0"/>
            <a:r>
              <a:rPr lang="en-US"/>
              <a:t>Takeaway message</a:t>
            </a:r>
            <a:endParaRPr lang="en-GB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65B74AC1-816D-4C6C-8826-EE7B4733057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04800" y="5988049"/>
            <a:ext cx="11582400" cy="260350"/>
          </a:xfrm>
        </p:spPr>
        <p:txBody>
          <a:bodyPr anchor="b"/>
          <a:lstStyle>
            <a:lvl1pPr>
              <a:spcBef>
                <a:spcPts val="0"/>
              </a:spcBef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Source: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901979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. Color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108357-E902-46FC-A995-CBB8C57520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FAA29ED-B081-445A-951A-0F0F2A5FFE0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GB"/>
              <a:t>CLASSIFICATION: Internal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8331B6-DEC4-4CB5-B89B-673584AD34C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9C47F3-E74D-462A-9E9A-E7164C68AF7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2D1304B-6F7E-4EC7-BF42-5A81617C3CE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2129473"/>
            <a:ext cx="2560320" cy="400110"/>
          </a:xfrm>
        </p:spPr>
        <p:txBody>
          <a:bodyPr/>
          <a:lstStyle>
            <a:lvl1pPr>
              <a:defRPr sz="1600" b="1">
                <a:solidFill>
                  <a:srgbClr val="488021"/>
                </a:solidFill>
              </a:defRPr>
            </a:lvl1pPr>
            <a:lvl2pPr>
              <a:defRPr b="1">
                <a:solidFill>
                  <a:srgbClr val="245C73"/>
                </a:solidFill>
              </a:defRPr>
            </a:lvl2pPr>
            <a:lvl3pPr>
              <a:defRPr b="1">
                <a:solidFill>
                  <a:srgbClr val="245C73"/>
                </a:solidFill>
              </a:defRPr>
            </a:lvl3pPr>
            <a:lvl4pPr>
              <a:defRPr b="1">
                <a:solidFill>
                  <a:srgbClr val="245C73"/>
                </a:solidFill>
              </a:defRPr>
            </a:lvl4pPr>
            <a:lvl5pPr>
              <a:defRPr b="1">
                <a:solidFill>
                  <a:srgbClr val="245C73"/>
                </a:solidFill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7CD833C-3221-4EFA-882C-80EB25F946A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1" y="2529584"/>
            <a:ext cx="2560320" cy="2322640"/>
          </a:xfrm>
          <a:solidFill>
            <a:srgbClr val="488021"/>
          </a:solidFill>
          <a:effectLst>
            <a:innerShdw dist="50800" dir="16200000">
              <a:schemeClr val="tx2"/>
            </a:innerShdw>
          </a:effectLst>
        </p:spPr>
        <p:txBody>
          <a:bodyPr lIns="91440" tIns="182880" rIns="91440" bIns="91440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25C17EBA-CEDD-41DA-8E8F-12F1A62933B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12159" y="2129473"/>
            <a:ext cx="2560320" cy="400110"/>
          </a:xfrm>
        </p:spPr>
        <p:txBody>
          <a:bodyPr/>
          <a:lstStyle>
            <a:lvl1pPr>
              <a:defRPr sz="1600" b="1">
                <a:solidFill>
                  <a:srgbClr val="821B46"/>
                </a:solidFill>
              </a:defRPr>
            </a:lvl1pPr>
            <a:lvl2pPr>
              <a:defRPr b="1">
                <a:solidFill>
                  <a:srgbClr val="245C73"/>
                </a:solidFill>
              </a:defRPr>
            </a:lvl2pPr>
            <a:lvl3pPr>
              <a:defRPr b="1">
                <a:solidFill>
                  <a:srgbClr val="245C73"/>
                </a:solidFill>
              </a:defRPr>
            </a:lvl3pPr>
            <a:lvl4pPr>
              <a:defRPr b="1">
                <a:solidFill>
                  <a:srgbClr val="245C73"/>
                </a:solidFill>
              </a:defRPr>
            </a:lvl4pPr>
            <a:lvl5pPr>
              <a:defRPr b="1">
                <a:solidFill>
                  <a:srgbClr val="245C73"/>
                </a:solidFill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61984772-C4E2-4CC4-97BE-A8C75F86FBD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12160" y="2529584"/>
            <a:ext cx="2560320" cy="2322640"/>
          </a:xfrm>
          <a:solidFill>
            <a:srgbClr val="821B46"/>
          </a:solidFill>
          <a:effectLst>
            <a:innerShdw dist="50800" dir="16200000">
              <a:schemeClr val="accent2"/>
            </a:innerShdw>
          </a:effectLst>
        </p:spPr>
        <p:txBody>
          <a:bodyPr lIns="91440" tIns="182880" rIns="91440" bIns="91440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C60F9B3E-DF29-4EA7-9C1F-7129CABCF20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9518" y="2129473"/>
            <a:ext cx="2560320" cy="400110"/>
          </a:xfrm>
        </p:spPr>
        <p:txBody>
          <a:bodyPr/>
          <a:lstStyle>
            <a:lvl1pPr>
              <a:defRPr sz="1600" b="1">
                <a:solidFill>
                  <a:srgbClr val="CD5E41"/>
                </a:solidFill>
              </a:defRPr>
            </a:lvl1pPr>
            <a:lvl2pPr>
              <a:defRPr b="1">
                <a:solidFill>
                  <a:srgbClr val="245C73"/>
                </a:solidFill>
              </a:defRPr>
            </a:lvl2pPr>
            <a:lvl3pPr>
              <a:defRPr b="1">
                <a:solidFill>
                  <a:srgbClr val="245C73"/>
                </a:solidFill>
              </a:defRPr>
            </a:lvl3pPr>
            <a:lvl4pPr>
              <a:defRPr b="1">
                <a:solidFill>
                  <a:srgbClr val="245C73"/>
                </a:solidFill>
              </a:defRPr>
            </a:lvl4pPr>
            <a:lvl5pPr>
              <a:defRPr b="1">
                <a:solidFill>
                  <a:srgbClr val="245C73"/>
                </a:solidFill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9B050A96-D379-4837-8498-BC78FE1D09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19519" y="2529584"/>
            <a:ext cx="2560320" cy="2322640"/>
          </a:xfrm>
          <a:solidFill>
            <a:srgbClr val="CD5E41"/>
          </a:solidFill>
          <a:effectLst>
            <a:innerShdw dist="50800" dir="16200000">
              <a:schemeClr val="accent1"/>
            </a:innerShdw>
          </a:effectLst>
        </p:spPr>
        <p:txBody>
          <a:bodyPr lIns="91440" tIns="182880" rIns="91440" bIns="91440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E8B0C802-2B78-49B1-B9E8-01C2DC98FF7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326878" y="2129473"/>
            <a:ext cx="2560320" cy="400110"/>
          </a:xfrm>
        </p:spPr>
        <p:txBody>
          <a:bodyPr/>
          <a:lstStyle>
            <a:lvl1pPr>
              <a:defRPr sz="1600" b="1">
                <a:solidFill>
                  <a:srgbClr val="245C73"/>
                </a:solidFill>
              </a:defRPr>
            </a:lvl1pPr>
            <a:lvl2pPr>
              <a:defRPr b="1">
                <a:solidFill>
                  <a:srgbClr val="245C73"/>
                </a:solidFill>
              </a:defRPr>
            </a:lvl2pPr>
            <a:lvl3pPr>
              <a:defRPr b="1">
                <a:solidFill>
                  <a:srgbClr val="245C73"/>
                </a:solidFill>
              </a:defRPr>
            </a:lvl3pPr>
            <a:lvl4pPr>
              <a:defRPr b="1">
                <a:solidFill>
                  <a:srgbClr val="245C73"/>
                </a:solidFill>
              </a:defRPr>
            </a:lvl4pPr>
            <a:lvl5pPr>
              <a:defRPr b="1">
                <a:solidFill>
                  <a:srgbClr val="245C73"/>
                </a:solidFill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ACCD8FB4-C033-4EDA-BB1F-9FB4498E3A0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326878" y="2529584"/>
            <a:ext cx="2560320" cy="2322640"/>
          </a:xfrm>
          <a:solidFill>
            <a:srgbClr val="245C73"/>
          </a:solidFill>
          <a:effectLst>
            <a:innerShdw dist="50800" dir="16200000">
              <a:schemeClr val="bg2"/>
            </a:innerShdw>
          </a:effectLst>
        </p:spPr>
        <p:txBody>
          <a:bodyPr lIns="91440" tIns="182880" rIns="91440" bIns="91440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CA2CDB4F-971F-4F58-B471-818CEDAAC79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04800" y="5988049"/>
            <a:ext cx="11582400" cy="260350"/>
          </a:xfrm>
        </p:spPr>
        <p:txBody>
          <a:bodyPr anchor="b"/>
          <a:lstStyle>
            <a:lvl1pPr>
              <a:spcBef>
                <a:spcPts val="0"/>
              </a:spcBef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Source: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545445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. Color box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C7B0DE-2C70-4E6E-A301-262BA39F6B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2032C5A-495B-4AAC-9858-6AF648A99A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GB"/>
              <a:t>CLASSIFICATION: Internal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7E4A8F-243E-476B-9978-CAB0783BB8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9C47F3-E74D-462A-9E9A-E7164C68AF7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1125AC6-D770-47BD-8E7D-A3B1801D4D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1328816"/>
            <a:ext cx="11582398" cy="1496278"/>
          </a:xfrm>
        </p:spPr>
        <p:txBody>
          <a:bodyPr/>
          <a:lstStyle>
            <a:lvl1pPr>
              <a:defRPr sz="2200"/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F994058-9F38-4E62-9051-21A01202800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7975" y="3046487"/>
            <a:ext cx="2560320" cy="329184"/>
          </a:xfrm>
        </p:spPr>
        <p:txBody>
          <a:bodyPr/>
          <a:lstStyle>
            <a:lvl1pPr>
              <a:defRPr sz="1600" b="1">
                <a:solidFill>
                  <a:srgbClr val="488021"/>
                </a:solidFill>
              </a:defRPr>
            </a:lvl1pPr>
            <a:lvl2pPr>
              <a:defRPr sz="1800" b="1">
                <a:solidFill>
                  <a:srgbClr val="488021"/>
                </a:solidFill>
              </a:defRPr>
            </a:lvl2pPr>
            <a:lvl3pPr>
              <a:defRPr sz="1800" b="1">
                <a:solidFill>
                  <a:srgbClr val="488021"/>
                </a:solidFill>
              </a:defRPr>
            </a:lvl3pPr>
            <a:lvl4pPr>
              <a:defRPr sz="1800" b="1">
                <a:solidFill>
                  <a:srgbClr val="488021"/>
                </a:solidFill>
              </a:defRPr>
            </a:lvl4pPr>
            <a:lvl5pPr>
              <a:defRPr sz="1800" b="1">
                <a:solidFill>
                  <a:srgbClr val="488021"/>
                </a:solidFill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7D76584C-C2BB-4295-A170-349B214415A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7975" y="3529819"/>
            <a:ext cx="2560320" cy="1907652"/>
          </a:xfrm>
          <a:solidFill>
            <a:srgbClr val="488021"/>
          </a:solidFill>
          <a:effectLst>
            <a:innerShdw dist="50800" dir="16200000">
              <a:schemeClr val="tx2"/>
            </a:innerShdw>
          </a:effectLst>
        </p:spPr>
        <p:txBody>
          <a:bodyPr lIns="91440" tIns="137160" rIns="91440" bIns="91440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F9A4FDA8-3E23-4EF9-8EE5-8C8B7BFE54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14276" y="3046487"/>
            <a:ext cx="2560320" cy="329184"/>
          </a:xfrm>
        </p:spPr>
        <p:txBody>
          <a:bodyPr/>
          <a:lstStyle>
            <a:lvl1pPr>
              <a:defRPr sz="1600" b="1">
                <a:solidFill>
                  <a:srgbClr val="821B46"/>
                </a:solidFill>
              </a:defRPr>
            </a:lvl1pPr>
            <a:lvl2pPr>
              <a:defRPr sz="1800" b="1">
                <a:solidFill>
                  <a:srgbClr val="488021"/>
                </a:solidFill>
              </a:defRPr>
            </a:lvl2pPr>
            <a:lvl3pPr>
              <a:defRPr sz="1800" b="1">
                <a:solidFill>
                  <a:srgbClr val="488021"/>
                </a:solidFill>
              </a:defRPr>
            </a:lvl3pPr>
            <a:lvl4pPr>
              <a:defRPr sz="1800" b="1">
                <a:solidFill>
                  <a:srgbClr val="488021"/>
                </a:solidFill>
              </a:defRPr>
            </a:lvl4pPr>
            <a:lvl5pPr>
              <a:defRPr sz="1800" b="1">
                <a:solidFill>
                  <a:srgbClr val="488021"/>
                </a:solidFill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42B19377-39C9-440F-81BA-24E74BE6A83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14275" y="3529819"/>
            <a:ext cx="2560320" cy="1907652"/>
          </a:xfrm>
          <a:solidFill>
            <a:srgbClr val="821B46"/>
          </a:solidFill>
          <a:effectLst>
            <a:innerShdw dist="50800" dir="16200000">
              <a:schemeClr val="accent2"/>
            </a:innerShdw>
          </a:effectLst>
        </p:spPr>
        <p:txBody>
          <a:bodyPr lIns="91440" tIns="137160" rIns="91440" bIns="91440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8DBB00D7-8819-493C-97B5-7CA2184176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20577" y="3046487"/>
            <a:ext cx="2560320" cy="329184"/>
          </a:xfrm>
        </p:spPr>
        <p:txBody>
          <a:bodyPr/>
          <a:lstStyle>
            <a:lvl1pPr>
              <a:defRPr sz="1600" b="1">
                <a:solidFill>
                  <a:srgbClr val="CD5E41"/>
                </a:solidFill>
              </a:defRPr>
            </a:lvl1pPr>
            <a:lvl2pPr>
              <a:defRPr sz="1800" b="1">
                <a:solidFill>
                  <a:srgbClr val="488021"/>
                </a:solidFill>
              </a:defRPr>
            </a:lvl2pPr>
            <a:lvl3pPr>
              <a:defRPr sz="1800" b="1">
                <a:solidFill>
                  <a:srgbClr val="488021"/>
                </a:solidFill>
              </a:defRPr>
            </a:lvl3pPr>
            <a:lvl4pPr>
              <a:defRPr sz="1800" b="1">
                <a:solidFill>
                  <a:srgbClr val="488021"/>
                </a:solidFill>
              </a:defRPr>
            </a:lvl4pPr>
            <a:lvl5pPr>
              <a:defRPr sz="1800" b="1">
                <a:solidFill>
                  <a:srgbClr val="488021"/>
                </a:solidFill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7F12579B-8D4C-4BD8-9F3E-A3F7B729B85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20575" y="3529819"/>
            <a:ext cx="2560320" cy="1907652"/>
          </a:xfrm>
          <a:solidFill>
            <a:srgbClr val="CD5E41"/>
          </a:solidFill>
          <a:effectLst>
            <a:innerShdw dist="50800" dir="16200000">
              <a:schemeClr val="accent1"/>
            </a:innerShdw>
          </a:effectLst>
        </p:spPr>
        <p:txBody>
          <a:bodyPr lIns="91440" tIns="137160" rIns="91440" bIns="91440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70D38135-A311-48BE-903C-B5B8AE38F1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26878" y="3046487"/>
            <a:ext cx="2560320" cy="329184"/>
          </a:xfrm>
        </p:spPr>
        <p:txBody>
          <a:bodyPr/>
          <a:lstStyle>
            <a:lvl1pPr>
              <a:defRPr sz="1600" b="1">
                <a:solidFill>
                  <a:srgbClr val="245C73"/>
                </a:solidFill>
              </a:defRPr>
            </a:lvl1pPr>
            <a:lvl2pPr>
              <a:defRPr sz="1800" b="1">
                <a:solidFill>
                  <a:srgbClr val="488021"/>
                </a:solidFill>
              </a:defRPr>
            </a:lvl2pPr>
            <a:lvl3pPr>
              <a:defRPr sz="1800" b="1">
                <a:solidFill>
                  <a:srgbClr val="488021"/>
                </a:solidFill>
              </a:defRPr>
            </a:lvl3pPr>
            <a:lvl4pPr>
              <a:defRPr sz="1800" b="1">
                <a:solidFill>
                  <a:srgbClr val="488021"/>
                </a:solidFill>
              </a:defRPr>
            </a:lvl4pPr>
            <a:lvl5pPr>
              <a:defRPr sz="1800" b="1">
                <a:solidFill>
                  <a:srgbClr val="488021"/>
                </a:solidFill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06CB7556-5A0A-4D58-92F6-18E428F0CA6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326876" y="3529819"/>
            <a:ext cx="2560320" cy="1907652"/>
          </a:xfrm>
          <a:solidFill>
            <a:srgbClr val="245C73"/>
          </a:solidFill>
          <a:effectLst>
            <a:innerShdw dist="50800" dir="16200000">
              <a:schemeClr val="bg2"/>
            </a:innerShdw>
          </a:effectLst>
        </p:spPr>
        <p:txBody>
          <a:bodyPr lIns="91440" tIns="137160" rIns="91440" bIns="91440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AEC6E9EA-2EBA-43ED-AA16-80EFFFA2AB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04800" y="5988049"/>
            <a:ext cx="11582400" cy="260350"/>
          </a:xfrm>
        </p:spPr>
        <p:txBody>
          <a:bodyPr anchor="b"/>
          <a:lstStyle>
            <a:lvl1pPr>
              <a:spcBef>
                <a:spcPts val="0"/>
              </a:spcBef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Source: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252144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. Color boxes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108357-E902-46FC-A995-CBB8C57520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FAA29ED-B081-445A-951A-0F0F2A5FFE0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GB"/>
              <a:t>CLASSIFICATION: Internal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8331B6-DEC4-4CB5-B89B-673584AD34C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9C47F3-E74D-462A-9E9A-E7164C68AF7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7CD833C-3221-4EFA-882C-80EB25F946A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1" y="3793681"/>
            <a:ext cx="2560320" cy="1641919"/>
          </a:xfrm>
          <a:solidFill>
            <a:srgbClr val="488021"/>
          </a:solidFill>
          <a:effectLst>
            <a:innerShdw dist="50800" dir="16200000">
              <a:schemeClr val="tx2"/>
            </a:innerShdw>
          </a:effectLst>
        </p:spPr>
        <p:txBody>
          <a:bodyPr lIns="91440" tIns="182880" rIns="91440" bIns="91440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61984772-C4E2-4CC4-97BE-A8C75F86FBD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12160" y="3793681"/>
            <a:ext cx="2560320" cy="1641919"/>
          </a:xfrm>
          <a:solidFill>
            <a:srgbClr val="821B46"/>
          </a:solidFill>
          <a:effectLst>
            <a:innerShdw dist="50800" dir="16200000">
              <a:schemeClr val="accent2"/>
            </a:innerShdw>
          </a:effectLst>
        </p:spPr>
        <p:txBody>
          <a:bodyPr lIns="91440" tIns="182880" rIns="91440" bIns="91440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9B050A96-D379-4837-8498-BC78FE1D09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19519" y="3793681"/>
            <a:ext cx="2560320" cy="1641919"/>
          </a:xfrm>
          <a:solidFill>
            <a:srgbClr val="CD5E41"/>
          </a:solidFill>
          <a:effectLst>
            <a:innerShdw dist="50800" dir="16200000">
              <a:schemeClr val="accent1"/>
            </a:innerShdw>
          </a:effectLst>
        </p:spPr>
        <p:txBody>
          <a:bodyPr lIns="91440" tIns="182880" rIns="91440" bIns="91440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ACCD8FB4-C033-4EDA-BB1F-9FB4498E3A0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326878" y="3793681"/>
            <a:ext cx="2560320" cy="1641919"/>
          </a:xfrm>
          <a:solidFill>
            <a:srgbClr val="245C73"/>
          </a:solidFill>
          <a:effectLst>
            <a:innerShdw dist="50800" dir="16200000">
              <a:schemeClr val="bg2"/>
            </a:innerShdw>
          </a:effectLst>
        </p:spPr>
        <p:txBody>
          <a:bodyPr lIns="91440" tIns="182880" rIns="91440" bIns="91440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7594EBEF-F59C-4A1D-9443-FF890289D50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04800" y="1600200"/>
            <a:ext cx="2560638" cy="1828800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E1AD51E4-1C13-48A1-93A8-DD905C60A76C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311842" y="1600200"/>
            <a:ext cx="2560638" cy="1828800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693EFFD3-CF3C-4FFA-B511-F85916083208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318884" y="1600200"/>
            <a:ext cx="2560638" cy="1828800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7" name="Picture Placeholder 13">
            <a:extLst>
              <a:ext uri="{FF2B5EF4-FFF2-40B4-BE49-F238E27FC236}">
                <a16:creationId xmlns:a16="http://schemas.microsoft.com/office/drawing/2014/main" id="{D50CC7D7-4782-4138-B7FE-32359A0E83E5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325926" y="1600200"/>
            <a:ext cx="2560638" cy="1828800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96D3FCB1-13BE-40DD-8314-019BD9EC412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04800" y="5988049"/>
            <a:ext cx="11582400" cy="260350"/>
          </a:xfrm>
        </p:spPr>
        <p:txBody>
          <a:bodyPr anchor="b"/>
          <a:lstStyle>
            <a:lvl1pPr>
              <a:spcBef>
                <a:spcPts val="0"/>
              </a:spcBef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Source: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4002906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. Color pan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C15444-67A2-4C40-BC1D-5A7525AE41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04801"/>
            <a:ext cx="7616952" cy="64979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00BA356-3375-4A89-875A-EA2FCBDE9A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GB"/>
              <a:t>CLASSIFICATION: Internal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00F888-23DC-4A11-B86B-E7E1E262B16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9C47F3-E74D-462A-9E9A-E7164C68AF7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D81F8B22-0824-44CB-9C34-BFB61079885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799" y="1240916"/>
            <a:ext cx="7616951" cy="400110"/>
          </a:xfrm>
        </p:spPr>
        <p:txBody>
          <a:bodyPr/>
          <a:lstStyle>
            <a:lvl1pPr>
              <a:defRPr b="1">
                <a:solidFill>
                  <a:srgbClr val="488021"/>
                </a:solidFill>
              </a:defRPr>
            </a:lvl1pPr>
            <a:lvl2pPr>
              <a:defRPr b="1">
                <a:solidFill>
                  <a:srgbClr val="245C73"/>
                </a:solidFill>
              </a:defRPr>
            </a:lvl2pPr>
            <a:lvl3pPr>
              <a:defRPr b="1">
                <a:solidFill>
                  <a:srgbClr val="245C73"/>
                </a:solidFill>
              </a:defRPr>
            </a:lvl3pPr>
            <a:lvl4pPr>
              <a:defRPr b="1">
                <a:solidFill>
                  <a:srgbClr val="245C73"/>
                </a:solidFill>
              </a:defRPr>
            </a:lvl4pPr>
            <a:lvl5pPr>
              <a:defRPr b="1">
                <a:solidFill>
                  <a:srgbClr val="245C73"/>
                </a:solidFill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09FC9D66-425B-4D4D-ACFF-52C41A2D7F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1641025"/>
            <a:ext cx="7616951" cy="41682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4834BD1-F26B-453A-91E5-E0AB5320F43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727440" y="304800"/>
            <a:ext cx="3159758" cy="5943600"/>
          </a:xfrm>
          <a:solidFill>
            <a:srgbClr val="488021"/>
          </a:solidFill>
          <a:effectLst>
            <a:innerShdw dist="101600" dir="16200000">
              <a:schemeClr val="tx2"/>
            </a:innerShdw>
          </a:effectLst>
        </p:spPr>
        <p:txBody>
          <a:bodyPr lIns="365760" tIns="365760" rIns="365760" bIns="365760" anchor="ctr"/>
          <a:lstStyle>
            <a:lvl1pPr algn="l">
              <a:defRPr sz="1600">
                <a:solidFill>
                  <a:schemeClr val="bg1"/>
                </a:solidFill>
              </a:defRPr>
            </a:lvl1pPr>
            <a:lvl2pPr algn="l">
              <a:defRPr sz="1600">
                <a:solidFill>
                  <a:schemeClr val="bg1"/>
                </a:solidFill>
              </a:defRPr>
            </a:lvl2pPr>
            <a:lvl3pPr algn="l">
              <a:defRPr sz="1600">
                <a:solidFill>
                  <a:schemeClr val="bg1"/>
                </a:solidFill>
              </a:defRPr>
            </a:lvl3pPr>
            <a:lvl4pPr algn="l">
              <a:defRPr sz="1600">
                <a:solidFill>
                  <a:schemeClr val="bg1"/>
                </a:solidFill>
              </a:defRPr>
            </a:lvl4pPr>
            <a:lvl5pPr algn="l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0052CAF-BC71-439E-98D8-252C4A4DE98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04800" y="5988049"/>
            <a:ext cx="7616950" cy="260350"/>
          </a:xfrm>
        </p:spPr>
        <p:txBody>
          <a:bodyPr anchor="b"/>
          <a:lstStyle>
            <a:lvl1pPr>
              <a:spcBef>
                <a:spcPts val="0"/>
              </a:spcBef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Source: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7083586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. Color box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C15444-67A2-4C40-BC1D-5A7525AE41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04801"/>
            <a:ext cx="6979921" cy="64979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00BA356-3375-4A89-875A-EA2FCBDE9A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GB"/>
              <a:t>CLASSIFICATION: Internal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00F888-23DC-4A11-B86B-E7E1E262B16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9C47F3-E74D-462A-9E9A-E7164C68AF7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D81F8B22-0824-44CB-9C34-BFB61079885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1240916"/>
            <a:ext cx="6979920" cy="40011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 b="1">
                <a:solidFill>
                  <a:srgbClr val="245C73"/>
                </a:solidFill>
              </a:defRPr>
            </a:lvl2pPr>
            <a:lvl3pPr>
              <a:defRPr b="1">
                <a:solidFill>
                  <a:srgbClr val="245C73"/>
                </a:solidFill>
              </a:defRPr>
            </a:lvl3pPr>
            <a:lvl4pPr>
              <a:defRPr b="1">
                <a:solidFill>
                  <a:srgbClr val="245C73"/>
                </a:solidFill>
              </a:defRPr>
            </a:lvl4pPr>
            <a:lvl5pPr>
              <a:defRPr b="1">
                <a:solidFill>
                  <a:srgbClr val="245C73"/>
                </a:solidFill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09FC9D66-425B-4D4D-ACFF-52C41A2D7F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1" y="1641026"/>
            <a:ext cx="6979920" cy="41682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4834BD1-F26B-453A-91E5-E0AB5320F43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36406" y="304800"/>
            <a:ext cx="4050792" cy="2651760"/>
          </a:xfrm>
          <a:solidFill>
            <a:srgbClr val="CD5E41"/>
          </a:solidFill>
          <a:effectLst/>
        </p:spPr>
        <p:txBody>
          <a:bodyPr lIns="365760" tIns="365760" rIns="365760" bIns="365760" anchor="ctr"/>
          <a:lstStyle>
            <a:lvl1pPr algn="l">
              <a:defRPr sz="1600">
                <a:solidFill>
                  <a:schemeClr val="bg1"/>
                </a:solidFill>
              </a:defRPr>
            </a:lvl1pPr>
            <a:lvl2pPr algn="l">
              <a:defRPr sz="1600">
                <a:solidFill>
                  <a:schemeClr val="bg1"/>
                </a:solidFill>
              </a:defRPr>
            </a:lvl2pPr>
            <a:lvl3pPr algn="l">
              <a:defRPr sz="1600">
                <a:solidFill>
                  <a:schemeClr val="bg1"/>
                </a:solidFill>
              </a:defRPr>
            </a:lvl3pPr>
            <a:lvl4pPr algn="l">
              <a:defRPr sz="1600">
                <a:solidFill>
                  <a:schemeClr val="bg1"/>
                </a:solidFill>
              </a:defRPr>
            </a:lvl4pPr>
            <a:lvl5pPr algn="l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ADF3B21-0B34-45D3-B81E-30B7F32F220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836407" y="2956560"/>
            <a:ext cx="4050794" cy="3291840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5EC0046F-C271-451E-A55B-5701F73FAE4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04800" y="5988049"/>
            <a:ext cx="6979920" cy="260350"/>
          </a:xfrm>
        </p:spPr>
        <p:txBody>
          <a:bodyPr anchor="b"/>
          <a:lstStyle>
            <a:lvl1pPr>
              <a:spcBef>
                <a:spcPts val="0"/>
              </a:spcBef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Source: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596288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. Text an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C53382-8A0D-454C-BB87-B3EDC544C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04801"/>
            <a:ext cx="3931920" cy="64979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409C79C-D235-493E-9375-C570C1FF872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GB"/>
              <a:t>CLASSIFICATION: Internal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157B6A-C028-4058-87DA-DABE62612DC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9C47F3-E74D-462A-9E9A-E7164C68AF7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56FDC76-8B97-4BCA-9524-8DD7C8C2435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1849438"/>
            <a:ext cx="3931920" cy="404082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Picture Placeholder 12">
            <a:extLst>
              <a:ext uri="{FF2B5EF4-FFF2-40B4-BE49-F238E27FC236}">
                <a16:creationId xmlns:a16="http://schemas.microsoft.com/office/drawing/2014/main" id="{F2504BAB-E71B-413C-8F68-3DDECE49FEE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62550" y="304800"/>
            <a:ext cx="6724650" cy="59436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1ABF6216-B544-488E-875A-D782B78484D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04800" y="5988049"/>
            <a:ext cx="3931920" cy="260350"/>
          </a:xfrm>
        </p:spPr>
        <p:txBody>
          <a:bodyPr anchor="b"/>
          <a:lstStyle>
            <a:lvl1pPr>
              <a:spcBef>
                <a:spcPts val="0"/>
              </a:spcBef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Source: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8851991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. Text and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C53382-8A0D-454C-BB87-B3EDC544C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04801"/>
            <a:ext cx="3931920" cy="64979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409C79C-D235-493E-9375-C570C1FF872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GB"/>
              <a:t>CLASSIFICATION: Internal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157B6A-C028-4058-87DA-DABE62612DC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9C47F3-E74D-462A-9E9A-E7164C68AF7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E8AB759-843B-493D-8E01-18DA2830C2A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1849438"/>
            <a:ext cx="3931920" cy="945516"/>
          </a:xfrm>
        </p:spPr>
        <p:txBody>
          <a:bodyPr/>
          <a:lstStyle>
            <a:lvl1pPr>
              <a:defRPr sz="2200"/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56FDC76-8B97-4BCA-9524-8DD7C8C2435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3037840"/>
            <a:ext cx="3931920" cy="28651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Picture Placeholder 16">
            <a:extLst>
              <a:ext uri="{FF2B5EF4-FFF2-40B4-BE49-F238E27FC236}">
                <a16:creationId xmlns:a16="http://schemas.microsoft.com/office/drawing/2014/main" id="{41159C3A-745C-4A40-B769-C3457671EBD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69275" y="304800"/>
            <a:ext cx="3717925" cy="15446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Picture Placeholder 16">
            <a:extLst>
              <a:ext uri="{FF2B5EF4-FFF2-40B4-BE49-F238E27FC236}">
                <a16:creationId xmlns:a16="http://schemas.microsoft.com/office/drawing/2014/main" id="{0786B4D8-B4EB-4A2C-8916-5C7CFA3D9AA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62549" y="304800"/>
            <a:ext cx="2843531" cy="338328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Picture Placeholder 16">
            <a:extLst>
              <a:ext uri="{FF2B5EF4-FFF2-40B4-BE49-F238E27FC236}">
                <a16:creationId xmlns:a16="http://schemas.microsoft.com/office/drawing/2014/main" id="{37B8B91D-5DC0-44D4-A2A4-DF580FFA8F7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162549" y="3850640"/>
            <a:ext cx="2843531" cy="239776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6" name="Picture Placeholder 16">
            <a:extLst>
              <a:ext uri="{FF2B5EF4-FFF2-40B4-BE49-F238E27FC236}">
                <a16:creationId xmlns:a16="http://schemas.microsoft.com/office/drawing/2014/main" id="{ADADF591-D44C-4E7A-9981-92B5A55388F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169275" y="2011362"/>
            <a:ext cx="3717925" cy="42370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B1AEDA3-617C-45DE-AC50-714652EA225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04800" y="5988049"/>
            <a:ext cx="3931920" cy="260350"/>
          </a:xfrm>
        </p:spPr>
        <p:txBody>
          <a:bodyPr anchor="b"/>
          <a:lstStyle>
            <a:lvl1pPr>
              <a:spcBef>
                <a:spcPts val="0"/>
              </a:spcBef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Source: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48226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.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16C0F0-3470-446E-94EE-BBC7FFB8A7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A8FB63E-3A8E-4219-86AE-C83011D93E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GB"/>
              <a:t>CLASSIFICATION: Internal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8367DF-951B-4721-A554-B23A61D4A61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9C47F3-E74D-462A-9E9A-E7164C68AF7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Picture Placeholder 7">
            <a:extLst>
              <a:ext uri="{FF2B5EF4-FFF2-40B4-BE49-F238E27FC236}">
                <a16:creationId xmlns:a16="http://schemas.microsoft.com/office/drawing/2014/main" id="{D02B7BCA-2527-4361-951B-A9B7637A3A4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04800" y="914400"/>
            <a:ext cx="3687763" cy="1655763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6A603032-B407-47AE-9A40-5B82D7688C9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104640" y="914400"/>
            <a:ext cx="3982720" cy="1655763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8BE1782A-29CE-427E-A113-EE9096C0EA1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99436" y="914400"/>
            <a:ext cx="3687749" cy="240792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516F063-157A-44A4-8766-73E9B142315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199436" y="3440276"/>
            <a:ext cx="3687749" cy="2808123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FF70917A-2B02-42F1-8512-B54648F9743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104640" y="2688120"/>
            <a:ext cx="3982720" cy="17292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7">
            <a:extLst>
              <a:ext uri="{FF2B5EF4-FFF2-40B4-BE49-F238E27FC236}">
                <a16:creationId xmlns:a16="http://schemas.microsoft.com/office/drawing/2014/main" id="{A06CDC5E-1BF5-4D08-A54F-A565CD03FF7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104640" y="4529411"/>
            <a:ext cx="3982720" cy="171899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58C19559-F0AE-4BA9-95FD-D9A40DB10A9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04799" y="2696888"/>
            <a:ext cx="3687749" cy="3551512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35217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. Cover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Map&#10;&#10;Description automatically generated">
            <a:extLst>
              <a:ext uri="{FF2B5EF4-FFF2-40B4-BE49-F238E27FC236}">
                <a16:creationId xmlns:a16="http://schemas.microsoft.com/office/drawing/2014/main" id="{9A916925-9DFD-40CB-AFE8-1886F03665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89343" y="304798"/>
            <a:ext cx="6197857" cy="624840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8EAEEFA-ECE7-4BC4-8602-E9873380B4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1833925"/>
            <a:ext cx="4562856" cy="1234440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Title</a:t>
            </a:r>
            <a:br>
              <a:rPr lang="en-US"/>
            </a:b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9331859-061F-4FAF-8C7C-00A07BA52B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04800" y="6305406"/>
            <a:ext cx="4114800" cy="243618"/>
          </a:xfrm>
        </p:spPr>
        <p:txBody>
          <a:bodyPr/>
          <a:lstStyle>
            <a:lvl1pPr algn="l">
              <a:defRPr/>
            </a:lvl1pPr>
          </a:lstStyle>
          <a:p>
            <a:pPr algn="l"/>
            <a:r>
              <a:rPr lang="en-GB"/>
              <a:t>CLASSIFICATION: Internal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71D1E8-96EC-4327-84D7-EE219D5AB9C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219C47F3-E74D-462A-9E9A-E7164C68AF7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C98747EC-11C2-486D-A172-D2A3DA7C322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1"/>
            <a:ext cx="2839184" cy="1231496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0881F4D-935B-47DB-86E8-8DDD545626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3241041"/>
            <a:ext cx="4562475" cy="1261872"/>
          </a:xfrm>
        </p:spPr>
        <p:txBody>
          <a:bodyPr/>
          <a:lstStyle>
            <a:lvl1pPr>
              <a:defRPr sz="2800"/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US"/>
              <a:t>Subtitle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2CF140B-D995-4687-8C29-3E77359795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5024074"/>
            <a:ext cx="4562475" cy="2743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Date</a:t>
            </a:r>
            <a:endParaRPr lang="en-GB"/>
          </a:p>
        </p:txBody>
      </p:sp>
      <p:grpSp>
        <p:nvGrpSpPr>
          <p:cNvPr id="206" name="Group 205">
            <a:extLst>
              <a:ext uri="{FF2B5EF4-FFF2-40B4-BE49-F238E27FC236}">
                <a16:creationId xmlns:a16="http://schemas.microsoft.com/office/drawing/2014/main" id="{25BD2D29-6D20-4948-8449-59E7930F681F}"/>
              </a:ext>
            </a:extLst>
          </p:cNvPr>
          <p:cNvGrpSpPr/>
          <p:nvPr userDrawn="1"/>
        </p:nvGrpSpPr>
        <p:grpSpPr>
          <a:xfrm>
            <a:off x="5689343" y="2839819"/>
            <a:ext cx="6198236" cy="3719529"/>
            <a:chOff x="14737359" y="2829495"/>
            <a:chExt cx="6198236" cy="3719529"/>
          </a:xfrm>
        </p:grpSpPr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3C1594B7-7445-4209-B200-2BC7D504273A}"/>
                </a:ext>
              </a:extLst>
            </p:cNvPr>
            <p:cNvSpPr/>
            <p:nvPr/>
          </p:nvSpPr>
          <p:spPr>
            <a:xfrm flipH="1">
              <a:off x="20314840" y="5929303"/>
              <a:ext cx="620755" cy="619721"/>
            </a:xfrm>
            <a:custGeom>
              <a:avLst/>
              <a:gdLst>
                <a:gd name="connsiteX0" fmla="*/ 0 w 342900"/>
                <a:gd name="connsiteY0" fmla="*/ 0 h 342329"/>
                <a:gd name="connsiteX1" fmla="*/ 0 w 342900"/>
                <a:gd name="connsiteY1" fmla="*/ 0 h 342329"/>
                <a:gd name="connsiteX2" fmla="*/ 342899 w 342900"/>
                <a:gd name="connsiteY2" fmla="*/ 341758 h 342329"/>
                <a:gd name="connsiteX3" fmla="*/ 342900 w 342900"/>
                <a:gd name="connsiteY3" fmla="*/ 342329 h 342329"/>
                <a:gd name="connsiteX4" fmla="*/ 342900 w 342900"/>
                <a:gd name="connsiteY4" fmla="*/ 342329 h 342329"/>
                <a:gd name="connsiteX5" fmla="*/ 0 w 342900"/>
                <a:gd name="connsiteY5" fmla="*/ 0 h 342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900" h="342329">
                  <a:moveTo>
                    <a:pt x="0" y="0"/>
                  </a:moveTo>
                  <a:lnTo>
                    <a:pt x="0" y="0"/>
                  </a:lnTo>
                  <a:cubicBezTo>
                    <a:pt x="189063" y="-314"/>
                    <a:pt x="342584" y="152696"/>
                    <a:pt x="342899" y="341758"/>
                  </a:cubicBezTo>
                  <a:cubicBezTo>
                    <a:pt x="342900" y="341948"/>
                    <a:pt x="342900" y="342138"/>
                    <a:pt x="342900" y="342329"/>
                  </a:cubicBezTo>
                  <a:lnTo>
                    <a:pt x="342900" y="342329"/>
                  </a:lnTo>
                  <a:cubicBezTo>
                    <a:pt x="153745" y="342329"/>
                    <a:pt x="315" y="189158"/>
                    <a:pt x="0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B1073F6B-DE45-4B55-B5A1-C99C48F09989}"/>
                </a:ext>
              </a:extLst>
            </p:cNvPr>
            <p:cNvSpPr/>
            <p:nvPr/>
          </p:nvSpPr>
          <p:spPr>
            <a:xfrm flipH="1">
              <a:off x="20314841" y="5308550"/>
              <a:ext cx="619719" cy="620755"/>
            </a:xfrm>
            <a:custGeom>
              <a:avLst/>
              <a:gdLst>
                <a:gd name="connsiteX0" fmla="*/ 341852 w 342328"/>
                <a:gd name="connsiteY0" fmla="*/ 0 h 342900"/>
                <a:gd name="connsiteX1" fmla="*/ 341852 w 342328"/>
                <a:gd name="connsiteY1" fmla="*/ 0 h 342900"/>
                <a:gd name="connsiteX2" fmla="*/ 0 w 342328"/>
                <a:gd name="connsiteY2" fmla="*/ 342900 h 342900"/>
                <a:gd name="connsiteX3" fmla="*/ 0 w 342328"/>
                <a:gd name="connsiteY3" fmla="*/ 342900 h 342900"/>
                <a:gd name="connsiteX4" fmla="*/ 342329 w 342328"/>
                <a:gd name="connsiteY4" fmla="*/ 571 h 342900"/>
                <a:gd name="connsiteX5" fmla="*/ 342329 w 342328"/>
                <a:gd name="connsiteY5" fmla="*/ 0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328" h="342900">
                  <a:moveTo>
                    <a:pt x="341852" y="0"/>
                  </a:moveTo>
                  <a:lnTo>
                    <a:pt x="341852" y="0"/>
                  </a:lnTo>
                  <a:cubicBezTo>
                    <a:pt x="152883" y="581"/>
                    <a:pt x="-1" y="153934"/>
                    <a:pt x="0" y="342900"/>
                  </a:cubicBezTo>
                  <a:lnTo>
                    <a:pt x="0" y="342900"/>
                  </a:lnTo>
                  <a:cubicBezTo>
                    <a:pt x="189063" y="342900"/>
                    <a:pt x="342329" y="189633"/>
                    <a:pt x="342329" y="571"/>
                  </a:cubicBezTo>
                  <a:cubicBezTo>
                    <a:pt x="342329" y="381"/>
                    <a:pt x="342329" y="191"/>
                    <a:pt x="342329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4F92B561-163F-4EBD-B820-3FD31CA49E43}"/>
                </a:ext>
              </a:extLst>
            </p:cNvPr>
            <p:cNvSpPr/>
            <p:nvPr/>
          </p:nvSpPr>
          <p:spPr>
            <a:xfrm flipH="1">
              <a:off x="19694947" y="5928614"/>
              <a:ext cx="620755" cy="619719"/>
            </a:xfrm>
            <a:custGeom>
              <a:avLst/>
              <a:gdLst>
                <a:gd name="connsiteX0" fmla="*/ 342424 w 342900"/>
                <a:gd name="connsiteY0" fmla="*/ 381 h 342328"/>
                <a:gd name="connsiteX1" fmla="*/ 342424 w 342900"/>
                <a:gd name="connsiteY1" fmla="*/ 381 h 342328"/>
                <a:gd name="connsiteX2" fmla="*/ 0 w 342900"/>
                <a:gd name="connsiteY2" fmla="*/ 342329 h 342328"/>
                <a:gd name="connsiteX3" fmla="*/ 0 w 342900"/>
                <a:gd name="connsiteY3" fmla="*/ 342329 h 342328"/>
                <a:gd name="connsiteX4" fmla="*/ 342900 w 342900"/>
                <a:gd name="connsiteY4" fmla="*/ 0 h 34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900" h="342328">
                  <a:moveTo>
                    <a:pt x="342424" y="381"/>
                  </a:moveTo>
                  <a:lnTo>
                    <a:pt x="342424" y="381"/>
                  </a:lnTo>
                  <a:cubicBezTo>
                    <a:pt x="153473" y="324"/>
                    <a:pt x="211" y="153381"/>
                    <a:pt x="0" y="342329"/>
                  </a:cubicBezTo>
                  <a:lnTo>
                    <a:pt x="0" y="342329"/>
                  </a:lnTo>
                  <a:cubicBezTo>
                    <a:pt x="189155" y="342329"/>
                    <a:pt x="342586" y="189156"/>
                    <a:pt x="342900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AB8BD95A-F9DE-491B-B0A6-A8233A3EB5ED}"/>
                </a:ext>
              </a:extLst>
            </p:cNvPr>
            <p:cNvSpPr/>
            <p:nvPr/>
          </p:nvSpPr>
          <p:spPr>
            <a:xfrm flipH="1">
              <a:off x="19694947" y="5308550"/>
              <a:ext cx="620755" cy="620755"/>
            </a:xfrm>
            <a:custGeom>
              <a:avLst/>
              <a:gdLst>
                <a:gd name="connsiteX0" fmla="*/ 0 w 342900"/>
                <a:gd name="connsiteY0" fmla="*/ 0 h 342900"/>
                <a:gd name="connsiteX1" fmla="*/ 0 w 342900"/>
                <a:gd name="connsiteY1" fmla="*/ 0 h 342900"/>
                <a:gd name="connsiteX2" fmla="*/ 342900 w 342900"/>
                <a:gd name="connsiteY2" fmla="*/ 342900 h 342900"/>
                <a:gd name="connsiteX3" fmla="*/ 342900 w 342900"/>
                <a:gd name="connsiteY3" fmla="*/ 342900 h 342900"/>
                <a:gd name="connsiteX4" fmla="*/ 475 w 342900"/>
                <a:gd name="connsiteY4" fmla="*/ 667 h 342900"/>
                <a:gd name="connsiteX5" fmla="*/ 476 w 342900"/>
                <a:gd name="connsiteY5" fmla="*/ 0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900" h="342900">
                  <a:moveTo>
                    <a:pt x="0" y="0"/>
                  </a:moveTo>
                  <a:lnTo>
                    <a:pt x="0" y="0"/>
                  </a:lnTo>
                  <a:cubicBezTo>
                    <a:pt x="189378" y="0"/>
                    <a:pt x="342900" y="153524"/>
                    <a:pt x="342900" y="342900"/>
                  </a:cubicBezTo>
                  <a:lnTo>
                    <a:pt x="342900" y="342900"/>
                  </a:lnTo>
                  <a:cubicBezTo>
                    <a:pt x="153837" y="342957"/>
                    <a:pt x="529" y="189729"/>
                    <a:pt x="475" y="667"/>
                  </a:cubicBezTo>
                  <a:cubicBezTo>
                    <a:pt x="475" y="448"/>
                    <a:pt x="476" y="219"/>
                    <a:pt x="476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12814481-6A64-4A69-A4D7-4BB83F7E0540}"/>
                </a:ext>
              </a:extLst>
            </p:cNvPr>
            <p:cNvSpPr/>
            <p:nvPr/>
          </p:nvSpPr>
          <p:spPr>
            <a:xfrm flipH="1">
              <a:off x="19076090" y="5929304"/>
              <a:ext cx="619719" cy="619719"/>
            </a:xfrm>
            <a:custGeom>
              <a:avLst/>
              <a:gdLst>
                <a:gd name="connsiteX0" fmla="*/ 0 w 342328"/>
                <a:gd name="connsiteY0" fmla="*/ 0 h 342328"/>
                <a:gd name="connsiteX1" fmla="*/ 0 w 342328"/>
                <a:gd name="connsiteY1" fmla="*/ 0 h 342328"/>
                <a:gd name="connsiteX2" fmla="*/ 342329 w 342328"/>
                <a:gd name="connsiteY2" fmla="*/ 342329 h 342328"/>
                <a:gd name="connsiteX3" fmla="*/ 342329 w 342328"/>
                <a:gd name="connsiteY3" fmla="*/ 342329 h 342328"/>
                <a:gd name="connsiteX4" fmla="*/ 0 w 342328"/>
                <a:gd name="connsiteY4" fmla="*/ 0 h 34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28" h="342328">
                  <a:moveTo>
                    <a:pt x="0" y="0"/>
                  </a:moveTo>
                  <a:lnTo>
                    <a:pt x="0" y="0"/>
                  </a:lnTo>
                  <a:cubicBezTo>
                    <a:pt x="189062" y="0"/>
                    <a:pt x="342329" y="153267"/>
                    <a:pt x="342329" y="342329"/>
                  </a:cubicBezTo>
                  <a:lnTo>
                    <a:pt x="342329" y="342329"/>
                  </a:lnTo>
                  <a:cubicBezTo>
                    <a:pt x="153267" y="342329"/>
                    <a:pt x="0" y="189062"/>
                    <a:pt x="0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400ACBB1-63F7-41EE-A4D3-47BC4F00D3E6}"/>
                </a:ext>
              </a:extLst>
            </p:cNvPr>
            <p:cNvSpPr/>
            <p:nvPr/>
          </p:nvSpPr>
          <p:spPr>
            <a:xfrm flipH="1">
              <a:off x="19076090" y="5308550"/>
              <a:ext cx="619719" cy="620755"/>
            </a:xfrm>
            <a:custGeom>
              <a:avLst/>
              <a:gdLst>
                <a:gd name="connsiteX0" fmla="*/ 342329 w 342328"/>
                <a:gd name="connsiteY0" fmla="*/ 0 h 342900"/>
                <a:gd name="connsiteX1" fmla="*/ 342329 w 342328"/>
                <a:gd name="connsiteY1" fmla="*/ 0 h 342900"/>
                <a:gd name="connsiteX2" fmla="*/ 0 w 342328"/>
                <a:gd name="connsiteY2" fmla="*/ 342900 h 342900"/>
                <a:gd name="connsiteX3" fmla="*/ 0 w 342328"/>
                <a:gd name="connsiteY3" fmla="*/ 342900 h 342900"/>
                <a:gd name="connsiteX4" fmla="*/ 342329 w 342328"/>
                <a:gd name="connsiteY4" fmla="*/ 571 h 342900"/>
                <a:gd name="connsiteX5" fmla="*/ 342329 w 342328"/>
                <a:gd name="connsiteY5" fmla="*/ 0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328" h="342900">
                  <a:moveTo>
                    <a:pt x="342329" y="0"/>
                  </a:moveTo>
                  <a:lnTo>
                    <a:pt x="342329" y="0"/>
                  </a:lnTo>
                  <a:cubicBezTo>
                    <a:pt x="153172" y="315"/>
                    <a:pt x="0" y="153743"/>
                    <a:pt x="0" y="342900"/>
                  </a:cubicBezTo>
                  <a:lnTo>
                    <a:pt x="0" y="342900"/>
                  </a:lnTo>
                  <a:cubicBezTo>
                    <a:pt x="189062" y="342900"/>
                    <a:pt x="342329" y="189633"/>
                    <a:pt x="342329" y="571"/>
                  </a:cubicBezTo>
                  <a:cubicBezTo>
                    <a:pt x="342329" y="381"/>
                    <a:pt x="342329" y="191"/>
                    <a:pt x="342329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DD1BF447-1300-44E8-9133-6EDAC0CA176C}"/>
                </a:ext>
              </a:extLst>
            </p:cNvPr>
            <p:cNvSpPr/>
            <p:nvPr/>
          </p:nvSpPr>
          <p:spPr>
            <a:xfrm flipH="1">
              <a:off x="18456197" y="5929303"/>
              <a:ext cx="619892" cy="619719"/>
            </a:xfrm>
            <a:custGeom>
              <a:avLst/>
              <a:gdLst>
                <a:gd name="connsiteX0" fmla="*/ 342424 w 342423"/>
                <a:gd name="connsiteY0" fmla="*/ 0 h 342328"/>
                <a:gd name="connsiteX1" fmla="*/ 342424 w 342423"/>
                <a:gd name="connsiteY1" fmla="*/ 0 h 342328"/>
                <a:gd name="connsiteX2" fmla="*/ 0 w 342423"/>
                <a:gd name="connsiteY2" fmla="*/ 342233 h 342328"/>
                <a:gd name="connsiteX3" fmla="*/ 0 w 342423"/>
                <a:gd name="connsiteY3" fmla="*/ 342329 h 342328"/>
                <a:gd name="connsiteX4" fmla="*/ 0 w 342423"/>
                <a:gd name="connsiteY4" fmla="*/ 342329 h 342328"/>
                <a:gd name="connsiteX5" fmla="*/ 342424 w 342423"/>
                <a:gd name="connsiteY5" fmla="*/ 0 h 34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423" h="342328">
                  <a:moveTo>
                    <a:pt x="342424" y="0"/>
                  </a:moveTo>
                  <a:lnTo>
                    <a:pt x="342424" y="0"/>
                  </a:lnTo>
                  <a:cubicBezTo>
                    <a:pt x="153362" y="-48"/>
                    <a:pt x="57" y="153171"/>
                    <a:pt x="0" y="342233"/>
                  </a:cubicBezTo>
                  <a:cubicBezTo>
                    <a:pt x="0" y="342262"/>
                    <a:pt x="0" y="342300"/>
                    <a:pt x="0" y="342329"/>
                  </a:cubicBezTo>
                  <a:lnTo>
                    <a:pt x="0" y="342329"/>
                  </a:lnTo>
                  <a:cubicBezTo>
                    <a:pt x="188967" y="342062"/>
                    <a:pt x="342110" y="188966"/>
                    <a:pt x="342424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8C7F982B-A6D1-484F-9045-FF5451381E84}"/>
                </a:ext>
              </a:extLst>
            </p:cNvPr>
            <p:cNvSpPr/>
            <p:nvPr/>
          </p:nvSpPr>
          <p:spPr>
            <a:xfrm flipH="1">
              <a:off x="18456197" y="5308550"/>
              <a:ext cx="619892" cy="620755"/>
            </a:xfrm>
            <a:custGeom>
              <a:avLst/>
              <a:gdLst>
                <a:gd name="connsiteX0" fmla="*/ 0 w 342423"/>
                <a:gd name="connsiteY0" fmla="*/ 0 h 342900"/>
                <a:gd name="connsiteX1" fmla="*/ 0 w 342423"/>
                <a:gd name="connsiteY1" fmla="*/ 0 h 342900"/>
                <a:gd name="connsiteX2" fmla="*/ 342424 w 342423"/>
                <a:gd name="connsiteY2" fmla="*/ 342900 h 342900"/>
                <a:gd name="connsiteX3" fmla="*/ 342424 w 342423"/>
                <a:gd name="connsiteY3" fmla="*/ 342900 h 342900"/>
                <a:gd name="connsiteX4" fmla="*/ 0 w 342423"/>
                <a:gd name="connsiteY4" fmla="*/ 667 h 342900"/>
                <a:gd name="connsiteX5" fmla="*/ 0 w 342423"/>
                <a:gd name="connsiteY5" fmla="*/ 0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423" h="342900">
                  <a:moveTo>
                    <a:pt x="0" y="0"/>
                  </a:moveTo>
                  <a:lnTo>
                    <a:pt x="0" y="0"/>
                  </a:lnTo>
                  <a:cubicBezTo>
                    <a:pt x="189195" y="267"/>
                    <a:pt x="342424" y="153705"/>
                    <a:pt x="342424" y="342900"/>
                  </a:cubicBezTo>
                  <a:lnTo>
                    <a:pt x="342424" y="342900"/>
                  </a:lnTo>
                  <a:cubicBezTo>
                    <a:pt x="153362" y="342957"/>
                    <a:pt x="48" y="189729"/>
                    <a:pt x="0" y="667"/>
                  </a:cubicBezTo>
                  <a:cubicBezTo>
                    <a:pt x="0" y="448"/>
                    <a:pt x="0" y="219"/>
                    <a:pt x="0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F1C5FD90-C1D5-4859-8B80-BD7484C01B05}"/>
                </a:ext>
              </a:extLst>
            </p:cNvPr>
            <p:cNvSpPr/>
            <p:nvPr/>
          </p:nvSpPr>
          <p:spPr>
            <a:xfrm flipH="1">
              <a:off x="17836477" y="5929304"/>
              <a:ext cx="619719" cy="619719"/>
            </a:xfrm>
            <a:custGeom>
              <a:avLst/>
              <a:gdLst>
                <a:gd name="connsiteX0" fmla="*/ 0 w 342328"/>
                <a:gd name="connsiteY0" fmla="*/ 0 h 342328"/>
                <a:gd name="connsiteX1" fmla="*/ 0 w 342328"/>
                <a:gd name="connsiteY1" fmla="*/ 0 h 342328"/>
                <a:gd name="connsiteX2" fmla="*/ 342329 w 342328"/>
                <a:gd name="connsiteY2" fmla="*/ 342329 h 342328"/>
                <a:gd name="connsiteX3" fmla="*/ 342329 w 342328"/>
                <a:gd name="connsiteY3" fmla="*/ 342329 h 342328"/>
                <a:gd name="connsiteX4" fmla="*/ 0 w 342328"/>
                <a:gd name="connsiteY4" fmla="*/ 0 h 34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28" h="342328">
                  <a:moveTo>
                    <a:pt x="0" y="0"/>
                  </a:moveTo>
                  <a:lnTo>
                    <a:pt x="0" y="0"/>
                  </a:lnTo>
                  <a:cubicBezTo>
                    <a:pt x="189062" y="0"/>
                    <a:pt x="342329" y="153267"/>
                    <a:pt x="342329" y="342329"/>
                  </a:cubicBezTo>
                  <a:lnTo>
                    <a:pt x="342329" y="342329"/>
                  </a:lnTo>
                  <a:cubicBezTo>
                    <a:pt x="153267" y="342329"/>
                    <a:pt x="0" y="189062"/>
                    <a:pt x="0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6F3F6CC1-F376-46D2-944D-9A73F969ACAE}"/>
                </a:ext>
              </a:extLst>
            </p:cNvPr>
            <p:cNvSpPr/>
            <p:nvPr/>
          </p:nvSpPr>
          <p:spPr>
            <a:xfrm flipH="1">
              <a:off x="17836477" y="5308550"/>
              <a:ext cx="619719" cy="620755"/>
            </a:xfrm>
            <a:custGeom>
              <a:avLst/>
              <a:gdLst>
                <a:gd name="connsiteX0" fmla="*/ 342329 w 342328"/>
                <a:gd name="connsiteY0" fmla="*/ 0 h 342900"/>
                <a:gd name="connsiteX1" fmla="*/ 342329 w 342328"/>
                <a:gd name="connsiteY1" fmla="*/ 0 h 342900"/>
                <a:gd name="connsiteX2" fmla="*/ 0 w 342328"/>
                <a:gd name="connsiteY2" fmla="*/ 342900 h 342900"/>
                <a:gd name="connsiteX3" fmla="*/ 0 w 342328"/>
                <a:gd name="connsiteY3" fmla="*/ 342900 h 342900"/>
                <a:gd name="connsiteX4" fmla="*/ 342329 w 342328"/>
                <a:gd name="connsiteY4" fmla="*/ 571 h 342900"/>
                <a:gd name="connsiteX5" fmla="*/ 342329 w 342328"/>
                <a:gd name="connsiteY5" fmla="*/ 0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328" h="342900">
                  <a:moveTo>
                    <a:pt x="342329" y="0"/>
                  </a:moveTo>
                  <a:lnTo>
                    <a:pt x="342329" y="0"/>
                  </a:lnTo>
                  <a:cubicBezTo>
                    <a:pt x="153172" y="315"/>
                    <a:pt x="0" y="153743"/>
                    <a:pt x="0" y="342900"/>
                  </a:cubicBezTo>
                  <a:lnTo>
                    <a:pt x="0" y="342900"/>
                  </a:lnTo>
                  <a:cubicBezTo>
                    <a:pt x="189062" y="342900"/>
                    <a:pt x="342329" y="189633"/>
                    <a:pt x="342329" y="571"/>
                  </a:cubicBezTo>
                  <a:cubicBezTo>
                    <a:pt x="342329" y="381"/>
                    <a:pt x="342329" y="191"/>
                    <a:pt x="342329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E35D74D1-78CF-45A7-8ECD-157F64979347}"/>
                </a:ext>
              </a:extLst>
            </p:cNvPr>
            <p:cNvSpPr/>
            <p:nvPr/>
          </p:nvSpPr>
          <p:spPr>
            <a:xfrm flipH="1">
              <a:off x="17216584" y="5929303"/>
              <a:ext cx="620755" cy="619721"/>
            </a:xfrm>
            <a:custGeom>
              <a:avLst/>
              <a:gdLst>
                <a:gd name="connsiteX0" fmla="*/ 342900 w 342900"/>
                <a:gd name="connsiteY0" fmla="*/ 0 h 342329"/>
                <a:gd name="connsiteX1" fmla="*/ 342900 w 342900"/>
                <a:gd name="connsiteY1" fmla="*/ 0 h 342329"/>
                <a:gd name="connsiteX2" fmla="*/ 0 w 342900"/>
                <a:gd name="connsiteY2" fmla="*/ 341758 h 342329"/>
                <a:gd name="connsiteX3" fmla="*/ 0 w 342900"/>
                <a:gd name="connsiteY3" fmla="*/ 342329 h 342329"/>
                <a:gd name="connsiteX4" fmla="*/ 0 w 342900"/>
                <a:gd name="connsiteY4" fmla="*/ 342329 h 342329"/>
                <a:gd name="connsiteX5" fmla="*/ 342900 w 342900"/>
                <a:gd name="connsiteY5" fmla="*/ 0 h 342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900" h="342329">
                  <a:moveTo>
                    <a:pt x="342900" y="0"/>
                  </a:moveTo>
                  <a:lnTo>
                    <a:pt x="342900" y="0"/>
                  </a:lnTo>
                  <a:cubicBezTo>
                    <a:pt x="153838" y="-314"/>
                    <a:pt x="314" y="152696"/>
                    <a:pt x="0" y="341758"/>
                  </a:cubicBezTo>
                  <a:cubicBezTo>
                    <a:pt x="0" y="341948"/>
                    <a:pt x="0" y="342138"/>
                    <a:pt x="0" y="342329"/>
                  </a:cubicBezTo>
                  <a:lnTo>
                    <a:pt x="0" y="342329"/>
                  </a:lnTo>
                  <a:cubicBezTo>
                    <a:pt x="189157" y="342329"/>
                    <a:pt x="342586" y="189158"/>
                    <a:pt x="342900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54359322-F957-49C1-B74D-32279801492A}"/>
                </a:ext>
              </a:extLst>
            </p:cNvPr>
            <p:cNvSpPr/>
            <p:nvPr/>
          </p:nvSpPr>
          <p:spPr>
            <a:xfrm flipH="1">
              <a:off x="17215722" y="5308550"/>
              <a:ext cx="620755" cy="620755"/>
            </a:xfrm>
            <a:custGeom>
              <a:avLst/>
              <a:gdLst>
                <a:gd name="connsiteX0" fmla="*/ 0 w 342900"/>
                <a:gd name="connsiteY0" fmla="*/ 0 h 342900"/>
                <a:gd name="connsiteX1" fmla="*/ 0 w 342900"/>
                <a:gd name="connsiteY1" fmla="*/ 0 h 342900"/>
                <a:gd name="connsiteX2" fmla="*/ 342900 w 342900"/>
                <a:gd name="connsiteY2" fmla="*/ 342900 h 342900"/>
                <a:gd name="connsiteX3" fmla="*/ 342900 w 342900"/>
                <a:gd name="connsiteY3" fmla="*/ 342900 h 342900"/>
                <a:gd name="connsiteX4" fmla="*/ 0 w 342900"/>
                <a:gd name="connsiteY4" fmla="*/ 1143 h 342900"/>
                <a:gd name="connsiteX5" fmla="*/ 0 w 342900"/>
                <a:gd name="connsiteY5" fmla="*/ 0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900" h="342900">
                  <a:moveTo>
                    <a:pt x="0" y="0"/>
                  </a:moveTo>
                  <a:lnTo>
                    <a:pt x="0" y="0"/>
                  </a:lnTo>
                  <a:cubicBezTo>
                    <a:pt x="189376" y="0"/>
                    <a:pt x="342900" y="153524"/>
                    <a:pt x="342900" y="342900"/>
                  </a:cubicBezTo>
                  <a:lnTo>
                    <a:pt x="342900" y="342900"/>
                  </a:lnTo>
                  <a:cubicBezTo>
                    <a:pt x="153838" y="343215"/>
                    <a:pt x="314" y="190205"/>
                    <a:pt x="0" y="1143"/>
                  </a:cubicBezTo>
                  <a:cubicBezTo>
                    <a:pt x="0" y="762"/>
                    <a:pt x="0" y="381"/>
                    <a:pt x="0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2C1E8458-618F-4F01-BFD6-4AF3B8044DEF}"/>
                </a:ext>
              </a:extLst>
            </p:cNvPr>
            <p:cNvSpPr/>
            <p:nvPr/>
          </p:nvSpPr>
          <p:spPr>
            <a:xfrm flipH="1">
              <a:off x="16596864" y="5929304"/>
              <a:ext cx="619719" cy="619719"/>
            </a:xfrm>
            <a:custGeom>
              <a:avLst/>
              <a:gdLst>
                <a:gd name="connsiteX0" fmla="*/ 0 w 342328"/>
                <a:gd name="connsiteY0" fmla="*/ 0 h 342328"/>
                <a:gd name="connsiteX1" fmla="*/ 0 w 342328"/>
                <a:gd name="connsiteY1" fmla="*/ 0 h 342328"/>
                <a:gd name="connsiteX2" fmla="*/ 342329 w 342328"/>
                <a:gd name="connsiteY2" fmla="*/ 342329 h 342328"/>
                <a:gd name="connsiteX3" fmla="*/ 342329 w 342328"/>
                <a:gd name="connsiteY3" fmla="*/ 342329 h 342328"/>
                <a:gd name="connsiteX4" fmla="*/ 0 w 342328"/>
                <a:gd name="connsiteY4" fmla="*/ 0 h 34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28" h="342328">
                  <a:moveTo>
                    <a:pt x="0" y="0"/>
                  </a:moveTo>
                  <a:lnTo>
                    <a:pt x="0" y="0"/>
                  </a:lnTo>
                  <a:cubicBezTo>
                    <a:pt x="189062" y="0"/>
                    <a:pt x="342329" y="153267"/>
                    <a:pt x="342329" y="342329"/>
                  </a:cubicBezTo>
                  <a:lnTo>
                    <a:pt x="342329" y="342329"/>
                  </a:lnTo>
                  <a:cubicBezTo>
                    <a:pt x="153267" y="342329"/>
                    <a:pt x="0" y="189062"/>
                    <a:pt x="0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95754DA4-6F50-42AC-8EDF-9CD0B1920874}"/>
                </a:ext>
              </a:extLst>
            </p:cNvPr>
            <p:cNvSpPr/>
            <p:nvPr/>
          </p:nvSpPr>
          <p:spPr>
            <a:xfrm flipH="1">
              <a:off x="16596864" y="5308550"/>
              <a:ext cx="619719" cy="620755"/>
            </a:xfrm>
            <a:custGeom>
              <a:avLst/>
              <a:gdLst>
                <a:gd name="connsiteX0" fmla="*/ 342329 w 342328"/>
                <a:gd name="connsiteY0" fmla="*/ 0 h 342900"/>
                <a:gd name="connsiteX1" fmla="*/ 342329 w 342328"/>
                <a:gd name="connsiteY1" fmla="*/ 0 h 342900"/>
                <a:gd name="connsiteX2" fmla="*/ 0 w 342328"/>
                <a:gd name="connsiteY2" fmla="*/ 342900 h 342900"/>
                <a:gd name="connsiteX3" fmla="*/ 0 w 342328"/>
                <a:gd name="connsiteY3" fmla="*/ 342900 h 342900"/>
                <a:gd name="connsiteX4" fmla="*/ 342329 w 342328"/>
                <a:gd name="connsiteY4" fmla="*/ 571 h 342900"/>
                <a:gd name="connsiteX5" fmla="*/ 342329 w 342328"/>
                <a:gd name="connsiteY5" fmla="*/ 0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328" h="342900">
                  <a:moveTo>
                    <a:pt x="342329" y="0"/>
                  </a:moveTo>
                  <a:lnTo>
                    <a:pt x="342329" y="0"/>
                  </a:lnTo>
                  <a:cubicBezTo>
                    <a:pt x="153171" y="315"/>
                    <a:pt x="0" y="153743"/>
                    <a:pt x="0" y="342900"/>
                  </a:cubicBezTo>
                  <a:lnTo>
                    <a:pt x="0" y="342900"/>
                  </a:lnTo>
                  <a:cubicBezTo>
                    <a:pt x="189062" y="342900"/>
                    <a:pt x="342329" y="189633"/>
                    <a:pt x="342329" y="571"/>
                  </a:cubicBezTo>
                  <a:cubicBezTo>
                    <a:pt x="342329" y="381"/>
                    <a:pt x="342329" y="191"/>
                    <a:pt x="342329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1B49F736-E3D9-4343-AA4B-7BAB675E4DE9}"/>
                </a:ext>
              </a:extLst>
            </p:cNvPr>
            <p:cNvSpPr/>
            <p:nvPr/>
          </p:nvSpPr>
          <p:spPr>
            <a:xfrm flipH="1">
              <a:off x="15976973" y="5929303"/>
              <a:ext cx="619892" cy="619719"/>
            </a:xfrm>
            <a:custGeom>
              <a:avLst/>
              <a:gdLst>
                <a:gd name="connsiteX0" fmla="*/ 342424 w 342423"/>
                <a:gd name="connsiteY0" fmla="*/ 0 h 342328"/>
                <a:gd name="connsiteX1" fmla="*/ 342424 w 342423"/>
                <a:gd name="connsiteY1" fmla="*/ 0 h 342328"/>
                <a:gd name="connsiteX2" fmla="*/ 0 w 342423"/>
                <a:gd name="connsiteY2" fmla="*/ 342233 h 342328"/>
                <a:gd name="connsiteX3" fmla="*/ 0 w 342423"/>
                <a:gd name="connsiteY3" fmla="*/ 342329 h 342328"/>
                <a:gd name="connsiteX4" fmla="*/ 0 w 342423"/>
                <a:gd name="connsiteY4" fmla="*/ 342329 h 342328"/>
                <a:gd name="connsiteX5" fmla="*/ 342424 w 342423"/>
                <a:gd name="connsiteY5" fmla="*/ 0 h 34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423" h="342328">
                  <a:moveTo>
                    <a:pt x="342424" y="0"/>
                  </a:moveTo>
                  <a:lnTo>
                    <a:pt x="342424" y="0"/>
                  </a:lnTo>
                  <a:cubicBezTo>
                    <a:pt x="153362" y="-48"/>
                    <a:pt x="57" y="153171"/>
                    <a:pt x="0" y="342233"/>
                  </a:cubicBezTo>
                  <a:cubicBezTo>
                    <a:pt x="0" y="342262"/>
                    <a:pt x="0" y="342300"/>
                    <a:pt x="0" y="342329"/>
                  </a:cubicBezTo>
                  <a:lnTo>
                    <a:pt x="0" y="342329"/>
                  </a:lnTo>
                  <a:cubicBezTo>
                    <a:pt x="188966" y="342062"/>
                    <a:pt x="342109" y="188966"/>
                    <a:pt x="342424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CC15F309-5E4E-488C-88BE-38CA95E7598C}"/>
                </a:ext>
              </a:extLst>
            </p:cNvPr>
            <p:cNvSpPr/>
            <p:nvPr/>
          </p:nvSpPr>
          <p:spPr>
            <a:xfrm flipH="1">
              <a:off x="15976973" y="5308550"/>
              <a:ext cx="619892" cy="620755"/>
            </a:xfrm>
            <a:custGeom>
              <a:avLst/>
              <a:gdLst>
                <a:gd name="connsiteX0" fmla="*/ 0 w 342423"/>
                <a:gd name="connsiteY0" fmla="*/ 0 h 342900"/>
                <a:gd name="connsiteX1" fmla="*/ 0 w 342423"/>
                <a:gd name="connsiteY1" fmla="*/ 0 h 342900"/>
                <a:gd name="connsiteX2" fmla="*/ 342424 w 342423"/>
                <a:gd name="connsiteY2" fmla="*/ 342900 h 342900"/>
                <a:gd name="connsiteX3" fmla="*/ 342424 w 342423"/>
                <a:gd name="connsiteY3" fmla="*/ 342900 h 342900"/>
                <a:gd name="connsiteX4" fmla="*/ 0 w 342423"/>
                <a:gd name="connsiteY4" fmla="*/ 667 h 342900"/>
                <a:gd name="connsiteX5" fmla="*/ 0 w 342423"/>
                <a:gd name="connsiteY5" fmla="*/ 0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423" h="342900">
                  <a:moveTo>
                    <a:pt x="0" y="0"/>
                  </a:moveTo>
                  <a:lnTo>
                    <a:pt x="0" y="0"/>
                  </a:lnTo>
                  <a:cubicBezTo>
                    <a:pt x="189195" y="267"/>
                    <a:pt x="342424" y="153705"/>
                    <a:pt x="342424" y="342900"/>
                  </a:cubicBezTo>
                  <a:lnTo>
                    <a:pt x="342424" y="342900"/>
                  </a:lnTo>
                  <a:cubicBezTo>
                    <a:pt x="153362" y="342957"/>
                    <a:pt x="57" y="189729"/>
                    <a:pt x="0" y="667"/>
                  </a:cubicBezTo>
                  <a:cubicBezTo>
                    <a:pt x="0" y="448"/>
                    <a:pt x="0" y="219"/>
                    <a:pt x="0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8C855B2D-1778-4D75-8471-0BB4165704EE}"/>
                </a:ext>
              </a:extLst>
            </p:cNvPr>
            <p:cNvSpPr/>
            <p:nvPr/>
          </p:nvSpPr>
          <p:spPr>
            <a:xfrm flipH="1">
              <a:off x="15357252" y="5929304"/>
              <a:ext cx="619719" cy="619719"/>
            </a:xfrm>
            <a:custGeom>
              <a:avLst/>
              <a:gdLst>
                <a:gd name="connsiteX0" fmla="*/ 0 w 342328"/>
                <a:gd name="connsiteY0" fmla="*/ 0 h 342328"/>
                <a:gd name="connsiteX1" fmla="*/ 0 w 342328"/>
                <a:gd name="connsiteY1" fmla="*/ 0 h 342328"/>
                <a:gd name="connsiteX2" fmla="*/ 342329 w 342328"/>
                <a:gd name="connsiteY2" fmla="*/ 342329 h 342328"/>
                <a:gd name="connsiteX3" fmla="*/ 342329 w 342328"/>
                <a:gd name="connsiteY3" fmla="*/ 342329 h 342328"/>
                <a:gd name="connsiteX4" fmla="*/ 0 w 342328"/>
                <a:gd name="connsiteY4" fmla="*/ 0 h 34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28" h="342328">
                  <a:moveTo>
                    <a:pt x="0" y="0"/>
                  </a:moveTo>
                  <a:lnTo>
                    <a:pt x="0" y="0"/>
                  </a:lnTo>
                  <a:cubicBezTo>
                    <a:pt x="189062" y="0"/>
                    <a:pt x="342329" y="153267"/>
                    <a:pt x="342329" y="342329"/>
                  </a:cubicBezTo>
                  <a:lnTo>
                    <a:pt x="342329" y="342329"/>
                  </a:lnTo>
                  <a:cubicBezTo>
                    <a:pt x="153267" y="342329"/>
                    <a:pt x="0" y="189062"/>
                    <a:pt x="0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80EF7FDE-C934-4A30-BAA2-9A623DAB55D2}"/>
                </a:ext>
              </a:extLst>
            </p:cNvPr>
            <p:cNvSpPr/>
            <p:nvPr/>
          </p:nvSpPr>
          <p:spPr>
            <a:xfrm flipH="1">
              <a:off x="15357252" y="5308550"/>
              <a:ext cx="619719" cy="620755"/>
            </a:xfrm>
            <a:custGeom>
              <a:avLst/>
              <a:gdLst>
                <a:gd name="connsiteX0" fmla="*/ 342329 w 342328"/>
                <a:gd name="connsiteY0" fmla="*/ 0 h 342900"/>
                <a:gd name="connsiteX1" fmla="*/ 342329 w 342328"/>
                <a:gd name="connsiteY1" fmla="*/ 0 h 342900"/>
                <a:gd name="connsiteX2" fmla="*/ 0 w 342328"/>
                <a:gd name="connsiteY2" fmla="*/ 342900 h 342900"/>
                <a:gd name="connsiteX3" fmla="*/ 0 w 342328"/>
                <a:gd name="connsiteY3" fmla="*/ 342900 h 342900"/>
                <a:gd name="connsiteX4" fmla="*/ 342329 w 342328"/>
                <a:gd name="connsiteY4" fmla="*/ 571 h 342900"/>
                <a:gd name="connsiteX5" fmla="*/ 342329 w 342328"/>
                <a:gd name="connsiteY5" fmla="*/ 0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328" h="342900">
                  <a:moveTo>
                    <a:pt x="342329" y="0"/>
                  </a:moveTo>
                  <a:lnTo>
                    <a:pt x="342329" y="0"/>
                  </a:lnTo>
                  <a:cubicBezTo>
                    <a:pt x="153171" y="315"/>
                    <a:pt x="0" y="153743"/>
                    <a:pt x="0" y="342900"/>
                  </a:cubicBezTo>
                  <a:lnTo>
                    <a:pt x="0" y="342900"/>
                  </a:lnTo>
                  <a:cubicBezTo>
                    <a:pt x="189062" y="342900"/>
                    <a:pt x="342329" y="189633"/>
                    <a:pt x="342329" y="571"/>
                  </a:cubicBezTo>
                  <a:cubicBezTo>
                    <a:pt x="342329" y="381"/>
                    <a:pt x="342329" y="191"/>
                    <a:pt x="342329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28B7E2DA-343E-4C11-9FBF-7CC7F438B7D3}"/>
                </a:ext>
              </a:extLst>
            </p:cNvPr>
            <p:cNvSpPr/>
            <p:nvPr/>
          </p:nvSpPr>
          <p:spPr>
            <a:xfrm flipH="1">
              <a:off x="14737359" y="5929303"/>
              <a:ext cx="619892" cy="619719"/>
            </a:xfrm>
            <a:custGeom>
              <a:avLst/>
              <a:gdLst>
                <a:gd name="connsiteX0" fmla="*/ 342424 w 342423"/>
                <a:gd name="connsiteY0" fmla="*/ 0 h 342328"/>
                <a:gd name="connsiteX1" fmla="*/ 342424 w 342423"/>
                <a:gd name="connsiteY1" fmla="*/ 0 h 342328"/>
                <a:gd name="connsiteX2" fmla="*/ 0 w 342423"/>
                <a:gd name="connsiteY2" fmla="*/ 342233 h 342328"/>
                <a:gd name="connsiteX3" fmla="*/ 0 w 342423"/>
                <a:gd name="connsiteY3" fmla="*/ 342329 h 342328"/>
                <a:gd name="connsiteX4" fmla="*/ 0 w 342423"/>
                <a:gd name="connsiteY4" fmla="*/ 342329 h 342328"/>
                <a:gd name="connsiteX5" fmla="*/ 342424 w 342423"/>
                <a:gd name="connsiteY5" fmla="*/ 0 h 34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423" h="342328">
                  <a:moveTo>
                    <a:pt x="342424" y="0"/>
                  </a:moveTo>
                  <a:lnTo>
                    <a:pt x="342424" y="0"/>
                  </a:lnTo>
                  <a:cubicBezTo>
                    <a:pt x="153362" y="-48"/>
                    <a:pt x="57" y="153171"/>
                    <a:pt x="0" y="342233"/>
                  </a:cubicBezTo>
                  <a:cubicBezTo>
                    <a:pt x="0" y="342262"/>
                    <a:pt x="0" y="342300"/>
                    <a:pt x="0" y="342329"/>
                  </a:cubicBezTo>
                  <a:lnTo>
                    <a:pt x="0" y="342329"/>
                  </a:lnTo>
                  <a:cubicBezTo>
                    <a:pt x="188966" y="342062"/>
                    <a:pt x="342109" y="188966"/>
                    <a:pt x="342424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17197B93-0689-481B-A036-F673CE50EC76}"/>
                </a:ext>
              </a:extLst>
            </p:cNvPr>
            <p:cNvSpPr/>
            <p:nvPr/>
          </p:nvSpPr>
          <p:spPr>
            <a:xfrm flipH="1">
              <a:off x="14737359" y="5308550"/>
              <a:ext cx="619892" cy="620755"/>
            </a:xfrm>
            <a:custGeom>
              <a:avLst/>
              <a:gdLst>
                <a:gd name="connsiteX0" fmla="*/ 0 w 342423"/>
                <a:gd name="connsiteY0" fmla="*/ 0 h 342900"/>
                <a:gd name="connsiteX1" fmla="*/ 0 w 342423"/>
                <a:gd name="connsiteY1" fmla="*/ 0 h 342900"/>
                <a:gd name="connsiteX2" fmla="*/ 342424 w 342423"/>
                <a:gd name="connsiteY2" fmla="*/ 342900 h 342900"/>
                <a:gd name="connsiteX3" fmla="*/ 342424 w 342423"/>
                <a:gd name="connsiteY3" fmla="*/ 342900 h 342900"/>
                <a:gd name="connsiteX4" fmla="*/ 0 w 342423"/>
                <a:gd name="connsiteY4" fmla="*/ 667 h 342900"/>
                <a:gd name="connsiteX5" fmla="*/ 0 w 342423"/>
                <a:gd name="connsiteY5" fmla="*/ 0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423" h="342900">
                  <a:moveTo>
                    <a:pt x="0" y="0"/>
                  </a:moveTo>
                  <a:lnTo>
                    <a:pt x="0" y="0"/>
                  </a:lnTo>
                  <a:cubicBezTo>
                    <a:pt x="189195" y="267"/>
                    <a:pt x="342424" y="153705"/>
                    <a:pt x="342424" y="342900"/>
                  </a:cubicBezTo>
                  <a:lnTo>
                    <a:pt x="342424" y="342900"/>
                  </a:lnTo>
                  <a:cubicBezTo>
                    <a:pt x="153362" y="342957"/>
                    <a:pt x="57" y="189729"/>
                    <a:pt x="0" y="667"/>
                  </a:cubicBezTo>
                  <a:cubicBezTo>
                    <a:pt x="0" y="448"/>
                    <a:pt x="0" y="219"/>
                    <a:pt x="0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62343E55-1ABB-4337-8949-ED3400E7D06D}"/>
                </a:ext>
              </a:extLst>
            </p:cNvPr>
            <p:cNvSpPr/>
            <p:nvPr/>
          </p:nvSpPr>
          <p:spPr>
            <a:xfrm flipH="1">
              <a:off x="19694947" y="4069107"/>
              <a:ext cx="620755" cy="620755"/>
            </a:xfrm>
            <a:custGeom>
              <a:avLst/>
              <a:gdLst>
                <a:gd name="connsiteX0" fmla="*/ 0 w 342900"/>
                <a:gd name="connsiteY0" fmla="*/ 0 h 342900"/>
                <a:gd name="connsiteX1" fmla="*/ 0 w 342900"/>
                <a:gd name="connsiteY1" fmla="*/ 0 h 342900"/>
                <a:gd name="connsiteX2" fmla="*/ 342900 w 342900"/>
                <a:gd name="connsiteY2" fmla="*/ 342900 h 342900"/>
                <a:gd name="connsiteX3" fmla="*/ 342900 w 342900"/>
                <a:gd name="connsiteY3" fmla="*/ 342900 h 342900"/>
                <a:gd name="connsiteX4" fmla="*/ 475 w 342900"/>
                <a:gd name="connsiteY4" fmla="*/ 667 h 342900"/>
                <a:gd name="connsiteX5" fmla="*/ 476 w 342900"/>
                <a:gd name="connsiteY5" fmla="*/ 0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900" h="342900">
                  <a:moveTo>
                    <a:pt x="0" y="0"/>
                  </a:moveTo>
                  <a:lnTo>
                    <a:pt x="0" y="0"/>
                  </a:lnTo>
                  <a:cubicBezTo>
                    <a:pt x="189378" y="0"/>
                    <a:pt x="342900" y="153524"/>
                    <a:pt x="342900" y="342900"/>
                  </a:cubicBezTo>
                  <a:lnTo>
                    <a:pt x="342900" y="342900"/>
                  </a:lnTo>
                  <a:cubicBezTo>
                    <a:pt x="153837" y="342957"/>
                    <a:pt x="529" y="189729"/>
                    <a:pt x="475" y="667"/>
                  </a:cubicBezTo>
                  <a:cubicBezTo>
                    <a:pt x="475" y="448"/>
                    <a:pt x="476" y="219"/>
                    <a:pt x="476" y="0"/>
                  </a:cubicBezTo>
                </a:path>
              </a:pathLst>
            </a:custGeom>
            <a:solidFill>
              <a:schemeClr val="bg1">
                <a:alpha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C9572FF8-BA31-42CB-B72B-AC11ED111392}"/>
                </a:ext>
              </a:extLst>
            </p:cNvPr>
            <p:cNvSpPr/>
            <p:nvPr/>
          </p:nvSpPr>
          <p:spPr>
            <a:xfrm flipH="1">
              <a:off x="19076090" y="4688828"/>
              <a:ext cx="619719" cy="619719"/>
            </a:xfrm>
            <a:custGeom>
              <a:avLst/>
              <a:gdLst>
                <a:gd name="connsiteX0" fmla="*/ 0 w 342328"/>
                <a:gd name="connsiteY0" fmla="*/ 95 h 342328"/>
                <a:gd name="connsiteX1" fmla="*/ 0 w 342328"/>
                <a:gd name="connsiteY1" fmla="*/ 95 h 342328"/>
                <a:gd name="connsiteX2" fmla="*/ 342329 w 342328"/>
                <a:gd name="connsiteY2" fmla="*/ 342329 h 342328"/>
                <a:gd name="connsiteX3" fmla="*/ 342329 w 342328"/>
                <a:gd name="connsiteY3" fmla="*/ 342329 h 342328"/>
                <a:gd name="connsiteX4" fmla="*/ 0 w 342328"/>
                <a:gd name="connsiteY4" fmla="*/ 0 h 34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28" h="342328">
                  <a:moveTo>
                    <a:pt x="0" y="95"/>
                  </a:moveTo>
                  <a:lnTo>
                    <a:pt x="0" y="95"/>
                  </a:lnTo>
                  <a:cubicBezTo>
                    <a:pt x="189024" y="95"/>
                    <a:pt x="342271" y="153305"/>
                    <a:pt x="342329" y="342329"/>
                  </a:cubicBezTo>
                  <a:lnTo>
                    <a:pt x="342329" y="342329"/>
                  </a:lnTo>
                  <a:cubicBezTo>
                    <a:pt x="153267" y="342329"/>
                    <a:pt x="0" y="189062"/>
                    <a:pt x="0" y="0"/>
                  </a:cubicBezTo>
                </a:path>
              </a:pathLst>
            </a:custGeom>
            <a:solidFill>
              <a:schemeClr val="bg1">
                <a:alpha val="8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9D0B7B72-AF21-48B6-B860-E77088F2AD35}"/>
                </a:ext>
              </a:extLst>
            </p:cNvPr>
            <p:cNvSpPr/>
            <p:nvPr/>
          </p:nvSpPr>
          <p:spPr>
            <a:xfrm flipH="1">
              <a:off x="18456197" y="4688828"/>
              <a:ext cx="619892" cy="619719"/>
            </a:xfrm>
            <a:custGeom>
              <a:avLst/>
              <a:gdLst>
                <a:gd name="connsiteX0" fmla="*/ 342424 w 342423"/>
                <a:gd name="connsiteY0" fmla="*/ 95 h 342328"/>
                <a:gd name="connsiteX1" fmla="*/ 342424 w 342423"/>
                <a:gd name="connsiteY1" fmla="*/ 95 h 342328"/>
                <a:gd name="connsiteX2" fmla="*/ 0 w 342423"/>
                <a:gd name="connsiteY2" fmla="*/ 342329 h 342328"/>
                <a:gd name="connsiteX3" fmla="*/ 0 w 342423"/>
                <a:gd name="connsiteY3" fmla="*/ 342329 h 342328"/>
                <a:gd name="connsiteX4" fmla="*/ 342424 w 342423"/>
                <a:gd name="connsiteY4" fmla="*/ 0 h 34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423" h="342328">
                  <a:moveTo>
                    <a:pt x="342424" y="95"/>
                  </a:moveTo>
                  <a:lnTo>
                    <a:pt x="342424" y="95"/>
                  </a:lnTo>
                  <a:cubicBezTo>
                    <a:pt x="153362" y="48"/>
                    <a:pt x="57" y="153267"/>
                    <a:pt x="0" y="342329"/>
                  </a:cubicBezTo>
                  <a:lnTo>
                    <a:pt x="0" y="342329"/>
                  </a:lnTo>
                  <a:cubicBezTo>
                    <a:pt x="188967" y="342062"/>
                    <a:pt x="342110" y="188966"/>
                    <a:pt x="342424" y="0"/>
                  </a:cubicBezTo>
                </a:path>
              </a:pathLst>
            </a:custGeom>
            <a:solidFill>
              <a:schemeClr val="bg1">
                <a:alpha val="8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85609BE2-2F14-4FFD-95D3-FFBDBC66B109}"/>
                </a:ext>
              </a:extLst>
            </p:cNvPr>
            <p:cNvSpPr/>
            <p:nvPr/>
          </p:nvSpPr>
          <p:spPr>
            <a:xfrm flipH="1">
              <a:off x="18456197" y="4069107"/>
              <a:ext cx="619892" cy="620755"/>
            </a:xfrm>
            <a:custGeom>
              <a:avLst/>
              <a:gdLst>
                <a:gd name="connsiteX0" fmla="*/ 0 w 342423"/>
                <a:gd name="connsiteY0" fmla="*/ 0 h 342900"/>
                <a:gd name="connsiteX1" fmla="*/ 0 w 342423"/>
                <a:gd name="connsiteY1" fmla="*/ 0 h 342900"/>
                <a:gd name="connsiteX2" fmla="*/ 342424 w 342423"/>
                <a:gd name="connsiteY2" fmla="*/ 342900 h 342900"/>
                <a:gd name="connsiteX3" fmla="*/ 342424 w 342423"/>
                <a:gd name="connsiteY3" fmla="*/ 342900 h 342900"/>
                <a:gd name="connsiteX4" fmla="*/ 0 w 342423"/>
                <a:gd name="connsiteY4" fmla="*/ 667 h 342900"/>
                <a:gd name="connsiteX5" fmla="*/ 0 w 342423"/>
                <a:gd name="connsiteY5" fmla="*/ 0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423" h="342900">
                  <a:moveTo>
                    <a:pt x="0" y="0"/>
                  </a:moveTo>
                  <a:lnTo>
                    <a:pt x="0" y="0"/>
                  </a:lnTo>
                  <a:cubicBezTo>
                    <a:pt x="189195" y="267"/>
                    <a:pt x="342424" y="153705"/>
                    <a:pt x="342424" y="342900"/>
                  </a:cubicBezTo>
                  <a:lnTo>
                    <a:pt x="342424" y="342900"/>
                  </a:lnTo>
                  <a:cubicBezTo>
                    <a:pt x="153362" y="342957"/>
                    <a:pt x="48" y="189729"/>
                    <a:pt x="0" y="667"/>
                  </a:cubicBezTo>
                  <a:cubicBezTo>
                    <a:pt x="0" y="448"/>
                    <a:pt x="0" y="219"/>
                    <a:pt x="0" y="0"/>
                  </a:cubicBezTo>
                </a:path>
              </a:pathLst>
            </a:custGeom>
            <a:solidFill>
              <a:schemeClr val="bg1">
                <a:alpha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1E3615FD-B208-4120-8C38-64BDE9E99EDD}"/>
                </a:ext>
              </a:extLst>
            </p:cNvPr>
            <p:cNvSpPr/>
            <p:nvPr/>
          </p:nvSpPr>
          <p:spPr>
            <a:xfrm flipH="1">
              <a:off x="17836477" y="4688828"/>
              <a:ext cx="619719" cy="619719"/>
            </a:xfrm>
            <a:custGeom>
              <a:avLst/>
              <a:gdLst>
                <a:gd name="connsiteX0" fmla="*/ 0 w 342328"/>
                <a:gd name="connsiteY0" fmla="*/ 95 h 342328"/>
                <a:gd name="connsiteX1" fmla="*/ 0 w 342328"/>
                <a:gd name="connsiteY1" fmla="*/ 95 h 342328"/>
                <a:gd name="connsiteX2" fmla="*/ 342329 w 342328"/>
                <a:gd name="connsiteY2" fmla="*/ 342329 h 342328"/>
                <a:gd name="connsiteX3" fmla="*/ 342329 w 342328"/>
                <a:gd name="connsiteY3" fmla="*/ 342329 h 342328"/>
                <a:gd name="connsiteX4" fmla="*/ 0 w 342328"/>
                <a:gd name="connsiteY4" fmla="*/ 0 h 34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28" h="342328">
                  <a:moveTo>
                    <a:pt x="0" y="95"/>
                  </a:moveTo>
                  <a:lnTo>
                    <a:pt x="0" y="95"/>
                  </a:lnTo>
                  <a:cubicBezTo>
                    <a:pt x="189024" y="95"/>
                    <a:pt x="342271" y="153305"/>
                    <a:pt x="342329" y="342329"/>
                  </a:cubicBezTo>
                  <a:lnTo>
                    <a:pt x="342329" y="342329"/>
                  </a:lnTo>
                  <a:cubicBezTo>
                    <a:pt x="153267" y="342329"/>
                    <a:pt x="0" y="189062"/>
                    <a:pt x="0" y="0"/>
                  </a:cubicBezTo>
                </a:path>
              </a:pathLst>
            </a:custGeom>
            <a:solidFill>
              <a:schemeClr val="bg1">
                <a:alpha val="8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01B65474-7BE1-43EB-A2ED-AEB859FFF2A7}"/>
                </a:ext>
              </a:extLst>
            </p:cNvPr>
            <p:cNvSpPr/>
            <p:nvPr/>
          </p:nvSpPr>
          <p:spPr>
            <a:xfrm flipH="1">
              <a:off x="17836477" y="4069107"/>
              <a:ext cx="619719" cy="620755"/>
            </a:xfrm>
            <a:custGeom>
              <a:avLst/>
              <a:gdLst>
                <a:gd name="connsiteX0" fmla="*/ 342329 w 342328"/>
                <a:gd name="connsiteY0" fmla="*/ 0 h 342900"/>
                <a:gd name="connsiteX1" fmla="*/ 342329 w 342328"/>
                <a:gd name="connsiteY1" fmla="*/ 0 h 342900"/>
                <a:gd name="connsiteX2" fmla="*/ 0 w 342328"/>
                <a:gd name="connsiteY2" fmla="*/ 342900 h 342900"/>
                <a:gd name="connsiteX3" fmla="*/ 0 w 342328"/>
                <a:gd name="connsiteY3" fmla="*/ 342900 h 342900"/>
                <a:gd name="connsiteX4" fmla="*/ 342329 w 342328"/>
                <a:gd name="connsiteY4" fmla="*/ 571 h 342900"/>
                <a:gd name="connsiteX5" fmla="*/ 342329 w 342328"/>
                <a:gd name="connsiteY5" fmla="*/ 0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328" h="342900">
                  <a:moveTo>
                    <a:pt x="342329" y="0"/>
                  </a:moveTo>
                  <a:lnTo>
                    <a:pt x="342329" y="0"/>
                  </a:lnTo>
                  <a:cubicBezTo>
                    <a:pt x="153172" y="315"/>
                    <a:pt x="0" y="153743"/>
                    <a:pt x="0" y="342900"/>
                  </a:cubicBezTo>
                  <a:lnTo>
                    <a:pt x="0" y="342900"/>
                  </a:lnTo>
                  <a:cubicBezTo>
                    <a:pt x="189062" y="342900"/>
                    <a:pt x="342329" y="189633"/>
                    <a:pt x="342329" y="571"/>
                  </a:cubicBezTo>
                  <a:cubicBezTo>
                    <a:pt x="342329" y="381"/>
                    <a:pt x="342329" y="191"/>
                    <a:pt x="342329" y="0"/>
                  </a:cubicBezTo>
                </a:path>
              </a:pathLst>
            </a:custGeom>
            <a:solidFill>
              <a:schemeClr val="bg1">
                <a:alpha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32FEABE5-BED4-433A-AA18-993132EC60DA}"/>
                </a:ext>
              </a:extLst>
            </p:cNvPr>
            <p:cNvSpPr/>
            <p:nvPr/>
          </p:nvSpPr>
          <p:spPr>
            <a:xfrm flipH="1">
              <a:off x="17215722" y="4069107"/>
              <a:ext cx="620755" cy="620755"/>
            </a:xfrm>
            <a:custGeom>
              <a:avLst/>
              <a:gdLst>
                <a:gd name="connsiteX0" fmla="*/ 0 w 342900"/>
                <a:gd name="connsiteY0" fmla="*/ 0 h 342900"/>
                <a:gd name="connsiteX1" fmla="*/ 0 w 342900"/>
                <a:gd name="connsiteY1" fmla="*/ 0 h 342900"/>
                <a:gd name="connsiteX2" fmla="*/ 342900 w 342900"/>
                <a:gd name="connsiteY2" fmla="*/ 342900 h 342900"/>
                <a:gd name="connsiteX3" fmla="*/ 342900 w 342900"/>
                <a:gd name="connsiteY3" fmla="*/ 342900 h 342900"/>
                <a:gd name="connsiteX4" fmla="*/ 0 w 342900"/>
                <a:gd name="connsiteY4" fmla="*/ 1143 h 342900"/>
                <a:gd name="connsiteX5" fmla="*/ 0 w 342900"/>
                <a:gd name="connsiteY5" fmla="*/ 0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900" h="342900">
                  <a:moveTo>
                    <a:pt x="0" y="0"/>
                  </a:moveTo>
                  <a:lnTo>
                    <a:pt x="0" y="0"/>
                  </a:lnTo>
                  <a:cubicBezTo>
                    <a:pt x="189376" y="0"/>
                    <a:pt x="342900" y="153524"/>
                    <a:pt x="342900" y="342900"/>
                  </a:cubicBezTo>
                  <a:lnTo>
                    <a:pt x="342900" y="342900"/>
                  </a:lnTo>
                  <a:cubicBezTo>
                    <a:pt x="153838" y="343215"/>
                    <a:pt x="314" y="190205"/>
                    <a:pt x="0" y="1143"/>
                  </a:cubicBezTo>
                  <a:cubicBezTo>
                    <a:pt x="0" y="762"/>
                    <a:pt x="0" y="381"/>
                    <a:pt x="0" y="0"/>
                  </a:cubicBezTo>
                </a:path>
              </a:pathLst>
            </a:custGeom>
            <a:solidFill>
              <a:schemeClr val="bg1">
                <a:alpha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678FBBF2-1B62-4614-A9DC-BC0BF3DCE8B4}"/>
                </a:ext>
              </a:extLst>
            </p:cNvPr>
            <p:cNvSpPr/>
            <p:nvPr/>
          </p:nvSpPr>
          <p:spPr>
            <a:xfrm flipH="1">
              <a:off x="15976973" y="4688828"/>
              <a:ext cx="619892" cy="619719"/>
            </a:xfrm>
            <a:custGeom>
              <a:avLst/>
              <a:gdLst>
                <a:gd name="connsiteX0" fmla="*/ 342424 w 342423"/>
                <a:gd name="connsiteY0" fmla="*/ 95 h 342328"/>
                <a:gd name="connsiteX1" fmla="*/ 342424 w 342423"/>
                <a:gd name="connsiteY1" fmla="*/ 95 h 342328"/>
                <a:gd name="connsiteX2" fmla="*/ 0 w 342423"/>
                <a:gd name="connsiteY2" fmla="*/ 342329 h 342328"/>
                <a:gd name="connsiteX3" fmla="*/ 0 w 342423"/>
                <a:gd name="connsiteY3" fmla="*/ 342329 h 342328"/>
                <a:gd name="connsiteX4" fmla="*/ 342424 w 342423"/>
                <a:gd name="connsiteY4" fmla="*/ 0 h 34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423" h="342328">
                  <a:moveTo>
                    <a:pt x="342424" y="95"/>
                  </a:moveTo>
                  <a:lnTo>
                    <a:pt x="342424" y="95"/>
                  </a:lnTo>
                  <a:cubicBezTo>
                    <a:pt x="153362" y="48"/>
                    <a:pt x="57" y="153267"/>
                    <a:pt x="0" y="342329"/>
                  </a:cubicBezTo>
                  <a:lnTo>
                    <a:pt x="0" y="342329"/>
                  </a:lnTo>
                  <a:cubicBezTo>
                    <a:pt x="188966" y="342062"/>
                    <a:pt x="342109" y="188966"/>
                    <a:pt x="342424" y="0"/>
                  </a:cubicBezTo>
                </a:path>
              </a:pathLst>
            </a:custGeom>
            <a:solidFill>
              <a:schemeClr val="bg1">
                <a:alpha val="8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5E8DBC03-4CFB-4FCF-A3C8-6C6DE2688D46}"/>
                </a:ext>
              </a:extLst>
            </p:cNvPr>
            <p:cNvSpPr/>
            <p:nvPr/>
          </p:nvSpPr>
          <p:spPr>
            <a:xfrm flipH="1">
              <a:off x="15357252" y="4688828"/>
              <a:ext cx="619719" cy="619719"/>
            </a:xfrm>
            <a:custGeom>
              <a:avLst/>
              <a:gdLst>
                <a:gd name="connsiteX0" fmla="*/ 0 w 342328"/>
                <a:gd name="connsiteY0" fmla="*/ 95 h 342328"/>
                <a:gd name="connsiteX1" fmla="*/ 0 w 342328"/>
                <a:gd name="connsiteY1" fmla="*/ 95 h 342328"/>
                <a:gd name="connsiteX2" fmla="*/ 342329 w 342328"/>
                <a:gd name="connsiteY2" fmla="*/ 342329 h 342328"/>
                <a:gd name="connsiteX3" fmla="*/ 342329 w 342328"/>
                <a:gd name="connsiteY3" fmla="*/ 342329 h 342328"/>
                <a:gd name="connsiteX4" fmla="*/ 0 w 342328"/>
                <a:gd name="connsiteY4" fmla="*/ 0 h 34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28" h="342328">
                  <a:moveTo>
                    <a:pt x="0" y="95"/>
                  </a:moveTo>
                  <a:lnTo>
                    <a:pt x="0" y="95"/>
                  </a:lnTo>
                  <a:cubicBezTo>
                    <a:pt x="189024" y="95"/>
                    <a:pt x="342271" y="153305"/>
                    <a:pt x="342329" y="342329"/>
                  </a:cubicBezTo>
                  <a:lnTo>
                    <a:pt x="342329" y="342329"/>
                  </a:lnTo>
                  <a:cubicBezTo>
                    <a:pt x="153267" y="342329"/>
                    <a:pt x="0" y="189062"/>
                    <a:pt x="0" y="0"/>
                  </a:cubicBezTo>
                </a:path>
              </a:pathLst>
            </a:custGeom>
            <a:solidFill>
              <a:schemeClr val="bg1">
                <a:alpha val="8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C45C6881-19C0-4495-B024-F4F347BD49EF}"/>
                </a:ext>
              </a:extLst>
            </p:cNvPr>
            <p:cNvSpPr/>
            <p:nvPr/>
          </p:nvSpPr>
          <p:spPr>
            <a:xfrm flipH="1">
              <a:off x="15357252" y="4069107"/>
              <a:ext cx="619719" cy="620755"/>
            </a:xfrm>
            <a:custGeom>
              <a:avLst/>
              <a:gdLst>
                <a:gd name="connsiteX0" fmla="*/ 342329 w 342328"/>
                <a:gd name="connsiteY0" fmla="*/ 0 h 342900"/>
                <a:gd name="connsiteX1" fmla="*/ 342329 w 342328"/>
                <a:gd name="connsiteY1" fmla="*/ 0 h 342900"/>
                <a:gd name="connsiteX2" fmla="*/ 0 w 342328"/>
                <a:gd name="connsiteY2" fmla="*/ 342900 h 342900"/>
                <a:gd name="connsiteX3" fmla="*/ 0 w 342328"/>
                <a:gd name="connsiteY3" fmla="*/ 342900 h 342900"/>
                <a:gd name="connsiteX4" fmla="*/ 342329 w 342328"/>
                <a:gd name="connsiteY4" fmla="*/ 571 h 342900"/>
                <a:gd name="connsiteX5" fmla="*/ 342329 w 342328"/>
                <a:gd name="connsiteY5" fmla="*/ 0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328" h="342900">
                  <a:moveTo>
                    <a:pt x="342329" y="0"/>
                  </a:moveTo>
                  <a:lnTo>
                    <a:pt x="342329" y="0"/>
                  </a:lnTo>
                  <a:cubicBezTo>
                    <a:pt x="153171" y="315"/>
                    <a:pt x="0" y="153743"/>
                    <a:pt x="0" y="342900"/>
                  </a:cubicBezTo>
                  <a:lnTo>
                    <a:pt x="0" y="342900"/>
                  </a:lnTo>
                  <a:cubicBezTo>
                    <a:pt x="189062" y="342900"/>
                    <a:pt x="342329" y="189633"/>
                    <a:pt x="342329" y="571"/>
                  </a:cubicBezTo>
                  <a:cubicBezTo>
                    <a:pt x="342329" y="381"/>
                    <a:pt x="342329" y="191"/>
                    <a:pt x="342329" y="0"/>
                  </a:cubicBezTo>
                </a:path>
              </a:pathLst>
            </a:custGeom>
            <a:solidFill>
              <a:schemeClr val="bg1">
                <a:alpha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87B16A8E-C858-4F2A-9651-523170A36FFE}"/>
                </a:ext>
              </a:extLst>
            </p:cNvPr>
            <p:cNvSpPr/>
            <p:nvPr/>
          </p:nvSpPr>
          <p:spPr>
            <a:xfrm flipH="1">
              <a:off x="14737359" y="4069107"/>
              <a:ext cx="619892" cy="620755"/>
            </a:xfrm>
            <a:custGeom>
              <a:avLst/>
              <a:gdLst>
                <a:gd name="connsiteX0" fmla="*/ 0 w 342423"/>
                <a:gd name="connsiteY0" fmla="*/ 0 h 342900"/>
                <a:gd name="connsiteX1" fmla="*/ 0 w 342423"/>
                <a:gd name="connsiteY1" fmla="*/ 0 h 342900"/>
                <a:gd name="connsiteX2" fmla="*/ 342424 w 342423"/>
                <a:gd name="connsiteY2" fmla="*/ 342900 h 342900"/>
                <a:gd name="connsiteX3" fmla="*/ 342424 w 342423"/>
                <a:gd name="connsiteY3" fmla="*/ 342900 h 342900"/>
                <a:gd name="connsiteX4" fmla="*/ 0 w 342423"/>
                <a:gd name="connsiteY4" fmla="*/ 667 h 342900"/>
                <a:gd name="connsiteX5" fmla="*/ 0 w 342423"/>
                <a:gd name="connsiteY5" fmla="*/ 0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423" h="342900">
                  <a:moveTo>
                    <a:pt x="0" y="0"/>
                  </a:moveTo>
                  <a:lnTo>
                    <a:pt x="0" y="0"/>
                  </a:lnTo>
                  <a:cubicBezTo>
                    <a:pt x="189195" y="267"/>
                    <a:pt x="342424" y="153705"/>
                    <a:pt x="342424" y="342900"/>
                  </a:cubicBezTo>
                  <a:lnTo>
                    <a:pt x="342424" y="342900"/>
                  </a:lnTo>
                  <a:cubicBezTo>
                    <a:pt x="153362" y="342957"/>
                    <a:pt x="57" y="189729"/>
                    <a:pt x="0" y="667"/>
                  </a:cubicBezTo>
                  <a:cubicBezTo>
                    <a:pt x="0" y="448"/>
                    <a:pt x="0" y="219"/>
                    <a:pt x="0" y="0"/>
                  </a:cubicBezTo>
                </a:path>
              </a:pathLst>
            </a:custGeom>
            <a:solidFill>
              <a:schemeClr val="bg1">
                <a:alpha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F28580B1-443F-4D4D-BBE3-BC14F02CA3FE}"/>
                </a:ext>
              </a:extLst>
            </p:cNvPr>
            <p:cNvSpPr/>
            <p:nvPr/>
          </p:nvSpPr>
          <p:spPr>
            <a:xfrm flipH="1">
              <a:off x="17216584" y="3449387"/>
              <a:ext cx="620755" cy="619721"/>
            </a:xfrm>
            <a:custGeom>
              <a:avLst/>
              <a:gdLst>
                <a:gd name="connsiteX0" fmla="*/ 342900 w 342900"/>
                <a:gd name="connsiteY0" fmla="*/ 0 h 342329"/>
                <a:gd name="connsiteX1" fmla="*/ 342900 w 342900"/>
                <a:gd name="connsiteY1" fmla="*/ 0 h 342329"/>
                <a:gd name="connsiteX2" fmla="*/ 0 w 342900"/>
                <a:gd name="connsiteY2" fmla="*/ 341758 h 342329"/>
                <a:gd name="connsiteX3" fmla="*/ 0 w 342900"/>
                <a:gd name="connsiteY3" fmla="*/ 342329 h 342329"/>
                <a:gd name="connsiteX4" fmla="*/ 0 w 342900"/>
                <a:gd name="connsiteY4" fmla="*/ 342329 h 342329"/>
                <a:gd name="connsiteX5" fmla="*/ 342900 w 342900"/>
                <a:gd name="connsiteY5" fmla="*/ 0 h 342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900" h="342329">
                  <a:moveTo>
                    <a:pt x="342900" y="0"/>
                  </a:moveTo>
                  <a:lnTo>
                    <a:pt x="342900" y="0"/>
                  </a:lnTo>
                  <a:cubicBezTo>
                    <a:pt x="153838" y="-314"/>
                    <a:pt x="314" y="152696"/>
                    <a:pt x="0" y="341758"/>
                  </a:cubicBezTo>
                  <a:cubicBezTo>
                    <a:pt x="0" y="341948"/>
                    <a:pt x="0" y="342138"/>
                    <a:pt x="0" y="342329"/>
                  </a:cubicBezTo>
                  <a:lnTo>
                    <a:pt x="0" y="342329"/>
                  </a:lnTo>
                  <a:cubicBezTo>
                    <a:pt x="189157" y="342329"/>
                    <a:pt x="342586" y="189158"/>
                    <a:pt x="342900" y="0"/>
                  </a:cubicBezTo>
                </a:path>
              </a:pathLst>
            </a:custGeom>
            <a:solidFill>
              <a:schemeClr val="bg1">
                <a:alpha val="7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8D8CC03E-A2FE-48C0-9FDE-7DCEE55816AD}"/>
                </a:ext>
              </a:extLst>
            </p:cNvPr>
            <p:cNvSpPr/>
            <p:nvPr/>
          </p:nvSpPr>
          <p:spPr>
            <a:xfrm flipH="1">
              <a:off x="16596864" y="3449388"/>
              <a:ext cx="619719" cy="619719"/>
            </a:xfrm>
            <a:custGeom>
              <a:avLst/>
              <a:gdLst>
                <a:gd name="connsiteX0" fmla="*/ 0 w 342328"/>
                <a:gd name="connsiteY0" fmla="*/ 0 h 342328"/>
                <a:gd name="connsiteX1" fmla="*/ 0 w 342328"/>
                <a:gd name="connsiteY1" fmla="*/ 0 h 342328"/>
                <a:gd name="connsiteX2" fmla="*/ 342329 w 342328"/>
                <a:gd name="connsiteY2" fmla="*/ 342329 h 342328"/>
                <a:gd name="connsiteX3" fmla="*/ 342329 w 342328"/>
                <a:gd name="connsiteY3" fmla="*/ 342329 h 342328"/>
                <a:gd name="connsiteX4" fmla="*/ 0 w 342328"/>
                <a:gd name="connsiteY4" fmla="*/ 0 h 34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28" h="342328">
                  <a:moveTo>
                    <a:pt x="0" y="0"/>
                  </a:moveTo>
                  <a:lnTo>
                    <a:pt x="0" y="0"/>
                  </a:lnTo>
                  <a:cubicBezTo>
                    <a:pt x="189062" y="0"/>
                    <a:pt x="342329" y="153267"/>
                    <a:pt x="342329" y="342329"/>
                  </a:cubicBezTo>
                  <a:lnTo>
                    <a:pt x="342329" y="342329"/>
                  </a:lnTo>
                  <a:cubicBezTo>
                    <a:pt x="153267" y="342329"/>
                    <a:pt x="0" y="189062"/>
                    <a:pt x="0" y="0"/>
                  </a:cubicBezTo>
                </a:path>
              </a:pathLst>
            </a:custGeom>
            <a:solidFill>
              <a:schemeClr val="bg1">
                <a:alpha val="7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4EAAA908-9B6E-46B6-91CA-D5B72119BEBC}"/>
                </a:ext>
              </a:extLst>
            </p:cNvPr>
            <p:cNvSpPr/>
            <p:nvPr/>
          </p:nvSpPr>
          <p:spPr>
            <a:xfrm flipH="1">
              <a:off x="15976973" y="3449388"/>
              <a:ext cx="619892" cy="619719"/>
            </a:xfrm>
            <a:custGeom>
              <a:avLst/>
              <a:gdLst>
                <a:gd name="connsiteX0" fmla="*/ 342424 w 342423"/>
                <a:gd name="connsiteY0" fmla="*/ 0 h 342328"/>
                <a:gd name="connsiteX1" fmla="*/ 342424 w 342423"/>
                <a:gd name="connsiteY1" fmla="*/ 0 h 342328"/>
                <a:gd name="connsiteX2" fmla="*/ 0 w 342423"/>
                <a:gd name="connsiteY2" fmla="*/ 342233 h 342328"/>
                <a:gd name="connsiteX3" fmla="*/ 0 w 342423"/>
                <a:gd name="connsiteY3" fmla="*/ 342329 h 342328"/>
                <a:gd name="connsiteX4" fmla="*/ 0 w 342423"/>
                <a:gd name="connsiteY4" fmla="*/ 342329 h 342328"/>
                <a:gd name="connsiteX5" fmla="*/ 342424 w 342423"/>
                <a:gd name="connsiteY5" fmla="*/ 0 h 34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423" h="342328">
                  <a:moveTo>
                    <a:pt x="342424" y="0"/>
                  </a:moveTo>
                  <a:lnTo>
                    <a:pt x="342424" y="0"/>
                  </a:lnTo>
                  <a:cubicBezTo>
                    <a:pt x="153362" y="-57"/>
                    <a:pt x="57" y="153171"/>
                    <a:pt x="0" y="342233"/>
                  </a:cubicBezTo>
                  <a:cubicBezTo>
                    <a:pt x="0" y="342262"/>
                    <a:pt x="0" y="342300"/>
                    <a:pt x="0" y="342329"/>
                  </a:cubicBezTo>
                  <a:lnTo>
                    <a:pt x="0" y="342329"/>
                  </a:lnTo>
                  <a:cubicBezTo>
                    <a:pt x="188966" y="342062"/>
                    <a:pt x="342109" y="188966"/>
                    <a:pt x="342424" y="0"/>
                  </a:cubicBezTo>
                </a:path>
              </a:pathLst>
            </a:custGeom>
            <a:solidFill>
              <a:schemeClr val="bg1">
                <a:alpha val="7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01AD0168-C484-4787-B6E9-FC8E3B2D59C5}"/>
                </a:ext>
              </a:extLst>
            </p:cNvPr>
            <p:cNvSpPr/>
            <p:nvPr/>
          </p:nvSpPr>
          <p:spPr>
            <a:xfrm flipH="1">
              <a:off x="19076090" y="2829495"/>
              <a:ext cx="619719" cy="619892"/>
            </a:xfrm>
            <a:custGeom>
              <a:avLst/>
              <a:gdLst>
                <a:gd name="connsiteX0" fmla="*/ 0 w 342328"/>
                <a:gd name="connsiteY0" fmla="*/ 0 h 342423"/>
                <a:gd name="connsiteX1" fmla="*/ 0 w 342328"/>
                <a:gd name="connsiteY1" fmla="*/ 0 h 342423"/>
                <a:gd name="connsiteX2" fmla="*/ 342329 w 342328"/>
                <a:gd name="connsiteY2" fmla="*/ 342328 h 342423"/>
                <a:gd name="connsiteX3" fmla="*/ 342329 w 342328"/>
                <a:gd name="connsiteY3" fmla="*/ 342424 h 342423"/>
                <a:gd name="connsiteX4" fmla="*/ 342329 w 342328"/>
                <a:gd name="connsiteY4" fmla="*/ 342424 h 342423"/>
                <a:gd name="connsiteX5" fmla="*/ 0 w 342328"/>
                <a:gd name="connsiteY5" fmla="*/ 0 h 342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328" h="342423">
                  <a:moveTo>
                    <a:pt x="0" y="0"/>
                  </a:moveTo>
                  <a:lnTo>
                    <a:pt x="0" y="0"/>
                  </a:lnTo>
                  <a:cubicBezTo>
                    <a:pt x="189062" y="0"/>
                    <a:pt x="342329" y="153267"/>
                    <a:pt x="342329" y="342328"/>
                  </a:cubicBezTo>
                  <a:cubicBezTo>
                    <a:pt x="342329" y="342357"/>
                    <a:pt x="342329" y="342395"/>
                    <a:pt x="342329" y="342424"/>
                  </a:cubicBezTo>
                  <a:lnTo>
                    <a:pt x="342329" y="342424"/>
                  </a:lnTo>
                  <a:cubicBezTo>
                    <a:pt x="153362" y="342109"/>
                    <a:pt x="267" y="188966"/>
                    <a:pt x="0" y="0"/>
                  </a:cubicBezTo>
                </a:path>
              </a:pathLst>
            </a:custGeom>
            <a:solidFill>
              <a:schemeClr val="bg1">
                <a:alpha val="5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2B984870-EDC3-4E1A-8F77-51A32296A680}"/>
                </a:ext>
              </a:extLst>
            </p:cNvPr>
            <p:cNvSpPr/>
            <p:nvPr/>
          </p:nvSpPr>
          <p:spPr>
            <a:xfrm flipH="1">
              <a:off x="18456197" y="2829495"/>
              <a:ext cx="619892" cy="619892"/>
            </a:xfrm>
            <a:custGeom>
              <a:avLst/>
              <a:gdLst>
                <a:gd name="connsiteX0" fmla="*/ 342424 w 342423"/>
                <a:gd name="connsiteY0" fmla="*/ 0 h 342423"/>
                <a:gd name="connsiteX1" fmla="*/ 342424 w 342423"/>
                <a:gd name="connsiteY1" fmla="*/ 0 h 342423"/>
                <a:gd name="connsiteX2" fmla="*/ 0 w 342423"/>
                <a:gd name="connsiteY2" fmla="*/ 342233 h 342423"/>
                <a:gd name="connsiteX3" fmla="*/ 0 w 342423"/>
                <a:gd name="connsiteY3" fmla="*/ 342424 h 342423"/>
                <a:gd name="connsiteX4" fmla="*/ 0 w 342423"/>
                <a:gd name="connsiteY4" fmla="*/ 342424 h 342423"/>
                <a:gd name="connsiteX5" fmla="*/ 342424 w 342423"/>
                <a:gd name="connsiteY5" fmla="*/ 0 h 342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423" h="342423">
                  <a:moveTo>
                    <a:pt x="342424" y="0"/>
                  </a:moveTo>
                  <a:lnTo>
                    <a:pt x="342424" y="0"/>
                  </a:lnTo>
                  <a:cubicBezTo>
                    <a:pt x="153362" y="-57"/>
                    <a:pt x="57" y="153171"/>
                    <a:pt x="0" y="342233"/>
                  </a:cubicBezTo>
                  <a:cubicBezTo>
                    <a:pt x="0" y="342300"/>
                    <a:pt x="0" y="342357"/>
                    <a:pt x="0" y="342424"/>
                  </a:cubicBezTo>
                  <a:lnTo>
                    <a:pt x="0" y="342424"/>
                  </a:lnTo>
                  <a:cubicBezTo>
                    <a:pt x="189005" y="342157"/>
                    <a:pt x="342157" y="189004"/>
                    <a:pt x="342424" y="0"/>
                  </a:cubicBezTo>
                </a:path>
              </a:pathLst>
            </a:custGeom>
            <a:solidFill>
              <a:schemeClr val="bg1">
                <a:alpha val="5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31317135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. Single photo_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A10CC6-6847-4E06-9B1F-1D4CB73736E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04800" y="304801"/>
            <a:ext cx="11582397" cy="5943600"/>
          </a:xfrm>
          <a:solidFill>
            <a:schemeClr val="accent6"/>
          </a:solidFill>
        </p:spPr>
        <p:txBody>
          <a:bodyPr/>
          <a:lstStyle>
            <a:lvl1pPr algn="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1C99F9-7155-4E6C-A386-546C12760D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04800"/>
            <a:ext cx="11582400" cy="701039"/>
          </a:xfrm>
        </p:spPr>
        <p:txBody>
          <a:bodyPr lIns="182880" tIns="182880" rIns="182880" bIns="182880"/>
          <a:lstStyle>
            <a:lvl1pPr>
              <a:defRPr/>
            </a:lvl1pPr>
          </a:lstStyle>
          <a:p>
            <a:r>
              <a:rPr lang="en-US"/>
              <a:t>Tit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BA5919D-D0C6-48C7-B628-3466CD115F1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GB"/>
              <a:t>CLASSIFICATION: Internal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1618824-7873-47D2-BC8C-3E418F63F37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9C47F3-E74D-462A-9E9A-E7164C68AF7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53835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.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DB3B6B-3D3B-43DC-B879-1017B60474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661921"/>
            <a:ext cx="4974336" cy="2075688"/>
          </a:xfrm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43CD00C-888D-4D6E-B60C-83E8D49D0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GB"/>
              <a:t>CLASSIFICATION: Internal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FAC0E6C-FF13-4DFC-BC1B-D4DE62C91ED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9C47F3-E74D-462A-9E9A-E7164C68AF7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22">
            <a:extLst>
              <a:ext uri="{FF2B5EF4-FFF2-40B4-BE49-F238E27FC236}">
                <a16:creationId xmlns:a16="http://schemas.microsoft.com/office/drawing/2014/main" id="{82E14401-CE1C-45D8-BB76-7BAF2A36484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632981"/>
            <a:ext cx="1506146" cy="1444657"/>
          </a:xfrm>
          <a:custGeom>
            <a:avLst/>
            <a:gdLst>
              <a:gd name="connsiteX0" fmla="*/ 2008705 w 2161952"/>
              <a:gd name="connsiteY0" fmla="*/ 0 h 2073690"/>
              <a:gd name="connsiteX1" fmla="*/ 2161952 w 2161952"/>
              <a:gd name="connsiteY1" fmla="*/ 398634 h 2073690"/>
              <a:gd name="connsiteX2" fmla="*/ 2161952 w 2161952"/>
              <a:gd name="connsiteY2" fmla="*/ 398638 h 2073690"/>
              <a:gd name="connsiteX3" fmla="*/ 2063074 w 2161952"/>
              <a:gd name="connsiteY3" fmla="*/ 441909 h 2073690"/>
              <a:gd name="connsiteX4" fmla="*/ 1826360 w 2161952"/>
              <a:gd name="connsiteY4" fmla="*/ 656636 h 2073690"/>
              <a:gd name="connsiteX5" fmla="*/ 1718699 w 2161952"/>
              <a:gd name="connsiteY5" fmla="*/ 1115409 h 2073690"/>
              <a:gd name="connsiteX6" fmla="*/ 2096968 w 2161952"/>
              <a:gd name="connsiteY6" fmla="*/ 1115409 h 2073690"/>
              <a:gd name="connsiteX7" fmla="*/ 2096968 w 2161952"/>
              <a:gd name="connsiteY7" fmla="*/ 2073690 h 2073690"/>
              <a:gd name="connsiteX8" fmla="*/ 1313272 w 2161952"/>
              <a:gd name="connsiteY8" fmla="*/ 2073690 h 2073690"/>
              <a:gd name="connsiteX9" fmla="*/ 1313272 w 2161952"/>
              <a:gd name="connsiteY9" fmla="*/ 1386016 h 2073690"/>
              <a:gd name="connsiteX10" fmla="*/ 1446151 w 2161952"/>
              <a:gd name="connsiteY10" fmla="*/ 524727 h 2073690"/>
              <a:gd name="connsiteX11" fmla="*/ 2008705 w 2161952"/>
              <a:gd name="connsiteY11" fmla="*/ 0 h 2073690"/>
              <a:gd name="connsiteX12" fmla="*/ 695433 w 2161952"/>
              <a:gd name="connsiteY12" fmla="*/ 0 h 2073690"/>
              <a:gd name="connsiteX13" fmla="*/ 848680 w 2161952"/>
              <a:gd name="connsiteY13" fmla="*/ 398637 h 2073690"/>
              <a:gd name="connsiteX14" fmla="*/ 514058 w 2161952"/>
              <a:gd name="connsiteY14" fmla="*/ 656636 h 2073690"/>
              <a:gd name="connsiteX15" fmla="*/ 402517 w 2161952"/>
              <a:gd name="connsiteY15" fmla="*/ 1115409 h 2073690"/>
              <a:gd name="connsiteX16" fmla="*/ 784666 w 2161952"/>
              <a:gd name="connsiteY16" fmla="*/ 1115409 h 2073690"/>
              <a:gd name="connsiteX17" fmla="*/ 784666 w 2161952"/>
              <a:gd name="connsiteY17" fmla="*/ 2073690 h 2073690"/>
              <a:gd name="connsiteX18" fmla="*/ 0 w 2161952"/>
              <a:gd name="connsiteY18" fmla="*/ 2073690 h 2073690"/>
              <a:gd name="connsiteX19" fmla="*/ 0 w 2161952"/>
              <a:gd name="connsiteY19" fmla="*/ 1386016 h 2073690"/>
              <a:gd name="connsiteX20" fmla="*/ 151308 w 2161952"/>
              <a:gd name="connsiteY20" fmla="*/ 484960 h 2073690"/>
              <a:gd name="connsiteX21" fmla="*/ 695433 w 2161952"/>
              <a:gd name="connsiteY21" fmla="*/ 0 h 20736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161952" h="2073690">
                <a:moveTo>
                  <a:pt x="2008705" y="0"/>
                </a:moveTo>
                <a:lnTo>
                  <a:pt x="2161952" y="398634"/>
                </a:lnTo>
                <a:lnTo>
                  <a:pt x="2161952" y="398638"/>
                </a:lnTo>
                <a:lnTo>
                  <a:pt x="2063074" y="441909"/>
                </a:lnTo>
                <a:cubicBezTo>
                  <a:pt x="1968347" y="492904"/>
                  <a:pt x="1886918" y="566420"/>
                  <a:pt x="1826360" y="656636"/>
                </a:cubicBezTo>
                <a:cubicBezTo>
                  <a:pt x="1749095" y="796799"/>
                  <a:pt x="1711850" y="955506"/>
                  <a:pt x="1718699" y="1115409"/>
                </a:cubicBezTo>
                <a:lnTo>
                  <a:pt x="2096968" y="1115409"/>
                </a:lnTo>
                <a:lnTo>
                  <a:pt x="2096968" y="2073690"/>
                </a:lnTo>
                <a:lnTo>
                  <a:pt x="1313272" y="2073690"/>
                </a:lnTo>
                <a:lnTo>
                  <a:pt x="1313272" y="1386016"/>
                </a:lnTo>
                <a:cubicBezTo>
                  <a:pt x="1313272" y="998048"/>
                  <a:pt x="1356919" y="712892"/>
                  <a:pt x="1446151" y="524727"/>
                </a:cubicBezTo>
                <a:cubicBezTo>
                  <a:pt x="1561892" y="285947"/>
                  <a:pt x="1762459" y="98867"/>
                  <a:pt x="2008705" y="0"/>
                </a:cubicBezTo>
                <a:close/>
                <a:moveTo>
                  <a:pt x="695433" y="0"/>
                </a:moveTo>
                <a:lnTo>
                  <a:pt x="848680" y="398637"/>
                </a:lnTo>
                <a:cubicBezTo>
                  <a:pt x="712537" y="446856"/>
                  <a:pt x="595318" y="537234"/>
                  <a:pt x="514058" y="656636"/>
                </a:cubicBezTo>
                <a:cubicBezTo>
                  <a:pt x="436849" y="796962"/>
                  <a:pt x="398353" y="955299"/>
                  <a:pt x="402517" y="1115409"/>
                </a:cubicBezTo>
                <a:lnTo>
                  <a:pt x="784666" y="1115409"/>
                </a:lnTo>
                <a:lnTo>
                  <a:pt x="784666" y="2073690"/>
                </a:lnTo>
                <a:lnTo>
                  <a:pt x="0" y="2073690"/>
                </a:lnTo>
                <a:lnTo>
                  <a:pt x="0" y="1386016"/>
                </a:lnTo>
                <a:cubicBezTo>
                  <a:pt x="0" y="997078"/>
                  <a:pt x="50436" y="698343"/>
                  <a:pt x="151308" y="484960"/>
                </a:cubicBezTo>
                <a:cubicBezTo>
                  <a:pt x="267010" y="262000"/>
                  <a:pt x="460681" y="89387"/>
                  <a:pt x="695433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7B9C02AC-A02A-481F-BA48-484037E76F72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5966542" y="312414"/>
            <a:ext cx="5920656" cy="5935986"/>
          </a:xfrm>
          <a:custGeom>
            <a:avLst/>
            <a:gdLst>
              <a:gd name="connsiteX0" fmla="*/ 1480940 w 5920656"/>
              <a:gd name="connsiteY0" fmla="*/ 5935774 h 5935986"/>
              <a:gd name="connsiteX1" fmla="*/ 1485122 w 5920656"/>
              <a:gd name="connsiteY1" fmla="*/ 5935986 h 5935986"/>
              <a:gd name="connsiteX2" fmla="*/ 1476482 w 5920656"/>
              <a:gd name="connsiteY2" fmla="*/ 5935986 h 5935986"/>
              <a:gd name="connsiteX3" fmla="*/ 2961490 w 5920656"/>
              <a:gd name="connsiteY3" fmla="*/ 4453103 h 5935986"/>
              <a:gd name="connsiteX4" fmla="*/ 2961604 w 5920656"/>
              <a:gd name="connsiteY4" fmla="*/ 4453108 h 5935986"/>
              <a:gd name="connsiteX5" fmla="*/ 2961720 w 5920656"/>
              <a:gd name="connsiteY5" fmla="*/ 4453103 h 5935986"/>
              <a:gd name="connsiteX6" fmla="*/ 2969284 w 5920656"/>
              <a:gd name="connsiteY6" fmla="*/ 4602520 h 5935986"/>
              <a:gd name="connsiteX7" fmla="*/ 4446732 w 5920656"/>
              <a:gd name="connsiteY7" fmla="*/ 5935986 h 5935986"/>
              <a:gd name="connsiteX8" fmla="*/ 1485122 w 5920656"/>
              <a:gd name="connsiteY8" fmla="*/ 5935986 h 5935986"/>
              <a:gd name="connsiteX9" fmla="*/ 1485100 w 5920656"/>
              <a:gd name="connsiteY9" fmla="*/ 5935576 h 5935986"/>
              <a:gd name="connsiteX10" fmla="*/ 1618784 w 5920656"/>
              <a:gd name="connsiteY10" fmla="*/ 5929230 h 5935986"/>
              <a:gd name="connsiteX11" fmla="*/ 2953924 w 5920656"/>
              <a:gd name="connsiteY11" fmla="*/ 4602520 h 5935986"/>
              <a:gd name="connsiteX12" fmla="*/ 108 w 5920656"/>
              <a:gd name="connsiteY12" fmla="*/ 4453103 h 5935986"/>
              <a:gd name="connsiteX13" fmla="*/ 6756 w 5920656"/>
              <a:gd name="connsiteY13" fmla="*/ 4593161 h 5935986"/>
              <a:gd name="connsiteX14" fmla="*/ 1333460 w 5920656"/>
              <a:gd name="connsiteY14" fmla="*/ 5928306 h 5935986"/>
              <a:gd name="connsiteX15" fmla="*/ 1476504 w 5920656"/>
              <a:gd name="connsiteY15" fmla="*/ 5935550 h 5935986"/>
              <a:gd name="connsiteX16" fmla="*/ 1476482 w 5920656"/>
              <a:gd name="connsiteY16" fmla="*/ 5935986 h 5935986"/>
              <a:gd name="connsiteX17" fmla="*/ 0 w 5920656"/>
              <a:gd name="connsiteY17" fmla="*/ 5935986 h 5935986"/>
              <a:gd name="connsiteX18" fmla="*/ 0 w 5920656"/>
              <a:gd name="connsiteY18" fmla="*/ 4453108 h 5935986"/>
              <a:gd name="connsiteX19" fmla="*/ 2961604 w 5920656"/>
              <a:gd name="connsiteY19" fmla="*/ 4450859 h 5935986"/>
              <a:gd name="connsiteX20" fmla="*/ 2961662 w 5920656"/>
              <a:gd name="connsiteY20" fmla="*/ 4451980 h 5935986"/>
              <a:gd name="connsiteX21" fmla="*/ 2961604 w 5920656"/>
              <a:gd name="connsiteY21" fmla="*/ 4453108 h 5935986"/>
              <a:gd name="connsiteX22" fmla="*/ 2961548 w 5920656"/>
              <a:gd name="connsiteY22" fmla="*/ 4451980 h 5935986"/>
              <a:gd name="connsiteX23" fmla="*/ 0 w 5920656"/>
              <a:gd name="connsiteY23" fmla="*/ 4450859 h 5935986"/>
              <a:gd name="connsiteX24" fmla="*/ 56 w 5920656"/>
              <a:gd name="connsiteY24" fmla="*/ 4452016 h 5935986"/>
              <a:gd name="connsiteX25" fmla="*/ 0 w 5920656"/>
              <a:gd name="connsiteY25" fmla="*/ 4453108 h 5935986"/>
              <a:gd name="connsiteX26" fmla="*/ 4441132 w 5920656"/>
              <a:gd name="connsiteY26" fmla="*/ 3079061 h 5935986"/>
              <a:gd name="connsiteX27" fmla="*/ 4443216 w 5920656"/>
              <a:gd name="connsiteY27" fmla="*/ 3120371 h 5935986"/>
              <a:gd name="connsiteX28" fmla="*/ 5920656 w 5920656"/>
              <a:gd name="connsiteY28" fmla="*/ 4453108 h 5935986"/>
              <a:gd name="connsiteX29" fmla="*/ 5920656 w 5920656"/>
              <a:gd name="connsiteY29" fmla="*/ 5935986 h 5935986"/>
              <a:gd name="connsiteX30" fmla="*/ 4446732 w 5920656"/>
              <a:gd name="connsiteY30" fmla="*/ 5935986 h 5935986"/>
              <a:gd name="connsiteX31" fmla="*/ 3113948 w 5920656"/>
              <a:gd name="connsiteY31" fmla="*/ 4458539 h 5935986"/>
              <a:gd name="connsiteX32" fmla="*/ 2984968 w 5920656"/>
              <a:gd name="connsiteY32" fmla="*/ 4452037 h 5935986"/>
              <a:gd name="connsiteX33" fmla="*/ 3113266 w 5920656"/>
              <a:gd name="connsiteY33" fmla="*/ 4446155 h 5935986"/>
              <a:gd name="connsiteX34" fmla="*/ 4439052 w 5920656"/>
              <a:gd name="connsiteY34" fmla="*/ 3120371 h 5935986"/>
              <a:gd name="connsiteX35" fmla="*/ 1480660 w 5920656"/>
              <a:gd name="connsiteY35" fmla="*/ 3056502 h 5935986"/>
              <a:gd name="connsiteX36" fmla="*/ 1483236 w 5920656"/>
              <a:gd name="connsiteY36" fmla="*/ 3110968 h 5935986"/>
              <a:gd name="connsiteX37" fmla="*/ 2809944 w 5920656"/>
              <a:gd name="connsiteY37" fmla="*/ 4446155 h 5935986"/>
              <a:gd name="connsiteX38" fmla="*/ 2938240 w 5920656"/>
              <a:gd name="connsiteY38" fmla="*/ 4452037 h 5935986"/>
              <a:gd name="connsiteX39" fmla="*/ 2809262 w 5920656"/>
              <a:gd name="connsiteY39" fmla="*/ 4458539 h 5935986"/>
              <a:gd name="connsiteX40" fmla="*/ 1483200 w 5920656"/>
              <a:gd name="connsiteY40" fmla="*/ 5793684 h 5935986"/>
              <a:gd name="connsiteX41" fmla="*/ 1480664 w 5920656"/>
              <a:gd name="connsiteY41" fmla="*/ 5847405 h 5935986"/>
              <a:gd name="connsiteX42" fmla="*/ 1477488 w 5920656"/>
              <a:gd name="connsiteY42" fmla="*/ 5784324 h 5935986"/>
              <a:gd name="connsiteX43" fmla="*/ 142946 w 5920656"/>
              <a:gd name="connsiteY43" fmla="*/ 4457616 h 5935986"/>
              <a:gd name="connsiteX44" fmla="*/ 24152 w 5920656"/>
              <a:gd name="connsiteY44" fmla="*/ 4452001 h 5935986"/>
              <a:gd name="connsiteX45" fmla="*/ 151660 w 5920656"/>
              <a:gd name="connsiteY45" fmla="*/ 4446155 h 5935986"/>
              <a:gd name="connsiteX46" fmla="*/ 1477442 w 5920656"/>
              <a:gd name="connsiteY46" fmla="*/ 3120371 h 5935986"/>
              <a:gd name="connsiteX47" fmla="*/ 5920656 w 5920656"/>
              <a:gd name="connsiteY47" fmla="*/ 1482856 h 5935986"/>
              <a:gd name="connsiteX48" fmla="*/ 5920656 w 5920656"/>
              <a:gd name="connsiteY48" fmla="*/ 4453108 h 5935986"/>
              <a:gd name="connsiteX49" fmla="*/ 4587876 w 5920656"/>
              <a:gd name="connsiteY49" fmla="*/ 2975662 h 5935986"/>
              <a:gd name="connsiteX50" fmla="*/ 4446704 w 5920656"/>
              <a:gd name="connsiteY50" fmla="*/ 2968545 h 5935986"/>
              <a:gd name="connsiteX51" fmla="*/ 4446732 w 5920656"/>
              <a:gd name="connsiteY51" fmla="*/ 2967982 h 5935986"/>
              <a:gd name="connsiteX52" fmla="*/ 4446702 w 5920656"/>
              <a:gd name="connsiteY52" fmla="*/ 2967416 h 5935986"/>
              <a:gd name="connsiteX53" fmla="*/ 4587192 w 5920656"/>
              <a:gd name="connsiteY53" fmla="*/ 2960302 h 5935986"/>
              <a:gd name="connsiteX54" fmla="*/ 5920656 w 5920656"/>
              <a:gd name="connsiteY54" fmla="*/ 1482856 h 5935986"/>
              <a:gd name="connsiteX55" fmla="*/ 0 w 5920656"/>
              <a:gd name="connsiteY55" fmla="*/ 1482856 h 5935986"/>
              <a:gd name="connsiteX56" fmla="*/ 1485122 w 5920656"/>
              <a:gd name="connsiteY56" fmla="*/ 2967982 h 5935986"/>
              <a:gd name="connsiteX57" fmla="*/ 1480940 w 5920656"/>
              <a:gd name="connsiteY57" fmla="*/ 2968193 h 5935986"/>
              <a:gd name="connsiteX58" fmla="*/ 1476478 w 5920656"/>
              <a:gd name="connsiteY58" fmla="*/ 2967982 h 5935986"/>
              <a:gd name="connsiteX59" fmla="*/ 1476500 w 5920656"/>
              <a:gd name="connsiteY59" fmla="*/ 2968417 h 5935986"/>
              <a:gd name="connsiteX60" fmla="*/ 1332780 w 5920656"/>
              <a:gd name="connsiteY60" fmla="*/ 2975662 h 5935986"/>
              <a:gd name="connsiteX61" fmla="*/ 7634 w 5920656"/>
              <a:gd name="connsiteY61" fmla="*/ 4301446 h 5935986"/>
              <a:gd name="connsiteX62" fmla="*/ 112 w 5920656"/>
              <a:gd name="connsiteY62" fmla="*/ 4450864 h 5935986"/>
              <a:gd name="connsiteX63" fmla="*/ 0 w 5920656"/>
              <a:gd name="connsiteY63" fmla="*/ 4450859 h 5935986"/>
              <a:gd name="connsiteX64" fmla="*/ 4446732 w 5920656"/>
              <a:gd name="connsiteY64" fmla="*/ 0 h 5935986"/>
              <a:gd name="connsiteX65" fmla="*/ 5920656 w 5920656"/>
              <a:gd name="connsiteY65" fmla="*/ 0 h 5935986"/>
              <a:gd name="connsiteX66" fmla="*/ 5920656 w 5920656"/>
              <a:gd name="connsiteY66" fmla="*/ 1482856 h 5935986"/>
              <a:gd name="connsiteX67" fmla="*/ 4443164 w 5920656"/>
              <a:gd name="connsiteY67" fmla="*/ 2816321 h 5935986"/>
              <a:gd name="connsiteX68" fmla="*/ 4441132 w 5920656"/>
              <a:gd name="connsiteY68" fmla="*/ 2856735 h 5935986"/>
              <a:gd name="connsiteX69" fmla="*/ 4439096 w 5920656"/>
              <a:gd name="connsiteY69" fmla="*/ 2816321 h 5935986"/>
              <a:gd name="connsiteX70" fmla="*/ 3104552 w 5920656"/>
              <a:gd name="connsiteY70" fmla="*/ 1489613 h 5935986"/>
              <a:gd name="connsiteX71" fmla="*/ 2985984 w 5920656"/>
              <a:gd name="connsiteY71" fmla="*/ 1484008 h 5935986"/>
              <a:gd name="connsiteX72" fmla="*/ 3113266 w 5920656"/>
              <a:gd name="connsiteY72" fmla="*/ 1478173 h 5935986"/>
              <a:gd name="connsiteX73" fmla="*/ 4446732 w 5920656"/>
              <a:gd name="connsiteY73" fmla="*/ 0 h 5935986"/>
              <a:gd name="connsiteX74" fmla="*/ 1476478 w 5920656"/>
              <a:gd name="connsiteY74" fmla="*/ 0 h 5935986"/>
              <a:gd name="connsiteX75" fmla="*/ 4446732 w 5920656"/>
              <a:gd name="connsiteY75" fmla="*/ 0 h 5935986"/>
              <a:gd name="connsiteX76" fmla="*/ 2969240 w 5920656"/>
              <a:gd name="connsiteY76" fmla="*/ 1333465 h 5935986"/>
              <a:gd name="connsiteX77" fmla="*/ 2961720 w 5920656"/>
              <a:gd name="connsiteY77" fmla="*/ 1482861 h 5935986"/>
              <a:gd name="connsiteX78" fmla="*/ 2961604 w 5920656"/>
              <a:gd name="connsiteY78" fmla="*/ 1482856 h 5935986"/>
              <a:gd name="connsiteX79" fmla="*/ 2961660 w 5920656"/>
              <a:gd name="connsiteY79" fmla="*/ 1484024 h 5935986"/>
              <a:gd name="connsiteX80" fmla="*/ 2961604 w 5920656"/>
              <a:gd name="connsiteY80" fmla="*/ 1485126 h 5935986"/>
              <a:gd name="connsiteX81" fmla="*/ 1476478 w 5920656"/>
              <a:gd name="connsiteY81" fmla="*/ 0 h 5935986"/>
              <a:gd name="connsiteX82" fmla="*/ 0 w 5920656"/>
              <a:gd name="connsiteY82" fmla="*/ 0 h 5935986"/>
              <a:gd name="connsiteX83" fmla="*/ 1476478 w 5920656"/>
              <a:gd name="connsiteY83" fmla="*/ 0 h 5935986"/>
              <a:gd name="connsiteX84" fmla="*/ 2961604 w 5920656"/>
              <a:gd name="connsiteY84" fmla="*/ 1485126 h 5935986"/>
              <a:gd name="connsiteX85" fmla="*/ 2961712 w 5920656"/>
              <a:gd name="connsiteY85" fmla="*/ 1485121 h 5935986"/>
              <a:gd name="connsiteX86" fmla="*/ 2968362 w 5920656"/>
              <a:gd name="connsiteY86" fmla="*/ 1625158 h 5935986"/>
              <a:gd name="connsiteX87" fmla="*/ 4295070 w 5920656"/>
              <a:gd name="connsiteY87" fmla="*/ 2960302 h 5935986"/>
              <a:gd name="connsiteX88" fmla="*/ 4435560 w 5920656"/>
              <a:gd name="connsiteY88" fmla="*/ 2967416 h 5935986"/>
              <a:gd name="connsiteX89" fmla="*/ 4435532 w 5920656"/>
              <a:gd name="connsiteY89" fmla="*/ 2967982 h 5935986"/>
              <a:gd name="connsiteX90" fmla="*/ 4441132 w 5920656"/>
              <a:gd name="connsiteY90" fmla="*/ 2967698 h 5935986"/>
              <a:gd name="connsiteX91" fmla="*/ 4446732 w 5920656"/>
              <a:gd name="connsiteY91" fmla="*/ 2967982 h 5935986"/>
              <a:gd name="connsiteX92" fmla="*/ 4441132 w 5920656"/>
              <a:gd name="connsiteY92" fmla="*/ 2968264 h 5935986"/>
              <a:gd name="connsiteX93" fmla="*/ 4435536 w 5920656"/>
              <a:gd name="connsiteY93" fmla="*/ 2967982 h 5935986"/>
              <a:gd name="connsiteX94" fmla="*/ 4435564 w 5920656"/>
              <a:gd name="connsiteY94" fmla="*/ 2968545 h 5935986"/>
              <a:gd name="connsiteX95" fmla="*/ 4294388 w 5920656"/>
              <a:gd name="connsiteY95" fmla="*/ 2975662 h 5935986"/>
              <a:gd name="connsiteX96" fmla="*/ 2969240 w 5920656"/>
              <a:gd name="connsiteY96" fmla="*/ 4301446 h 5935986"/>
              <a:gd name="connsiteX97" fmla="*/ 2961718 w 5920656"/>
              <a:gd name="connsiteY97" fmla="*/ 4450865 h 5935986"/>
              <a:gd name="connsiteX98" fmla="*/ 2961604 w 5920656"/>
              <a:gd name="connsiteY98" fmla="*/ 4450859 h 5935986"/>
              <a:gd name="connsiteX99" fmla="*/ 2961492 w 5920656"/>
              <a:gd name="connsiteY99" fmla="*/ 4450865 h 5935986"/>
              <a:gd name="connsiteX100" fmla="*/ 2953970 w 5920656"/>
              <a:gd name="connsiteY100" fmla="*/ 4301446 h 5935986"/>
              <a:gd name="connsiteX101" fmla="*/ 1619424 w 5920656"/>
              <a:gd name="connsiteY101" fmla="*/ 2974739 h 5935986"/>
              <a:gd name="connsiteX102" fmla="*/ 1485102 w 5920656"/>
              <a:gd name="connsiteY102" fmla="*/ 2968390 h 5935986"/>
              <a:gd name="connsiteX103" fmla="*/ 1485122 w 5920656"/>
              <a:gd name="connsiteY103" fmla="*/ 2967982 h 5935986"/>
              <a:gd name="connsiteX104" fmla="*/ 0 w 5920656"/>
              <a:gd name="connsiteY104" fmla="*/ 1482856 h 59359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5920656" h="5935986">
                <a:moveTo>
                  <a:pt x="1480940" y="5935774"/>
                </a:moveTo>
                <a:lnTo>
                  <a:pt x="1485122" y="5935986"/>
                </a:lnTo>
                <a:lnTo>
                  <a:pt x="1476482" y="5935986"/>
                </a:lnTo>
                <a:close/>
                <a:moveTo>
                  <a:pt x="2961490" y="4453103"/>
                </a:moveTo>
                <a:lnTo>
                  <a:pt x="2961604" y="4453108"/>
                </a:lnTo>
                <a:lnTo>
                  <a:pt x="2961720" y="4453103"/>
                </a:lnTo>
                <a:lnTo>
                  <a:pt x="2969284" y="4602520"/>
                </a:lnTo>
                <a:cubicBezTo>
                  <a:pt x="3045456" y="5350605"/>
                  <a:pt x="3678830" y="5935986"/>
                  <a:pt x="4446732" y="5935986"/>
                </a:cubicBezTo>
                <a:lnTo>
                  <a:pt x="1485122" y="5935986"/>
                </a:lnTo>
                <a:lnTo>
                  <a:pt x="1485100" y="5935576"/>
                </a:lnTo>
                <a:lnTo>
                  <a:pt x="1618784" y="5929230"/>
                </a:lnTo>
                <a:cubicBezTo>
                  <a:pt x="2321372" y="5862178"/>
                  <a:pt x="2882512" y="5303850"/>
                  <a:pt x="2953924" y="4602520"/>
                </a:cubicBezTo>
                <a:close/>
                <a:moveTo>
                  <a:pt x="108" y="4453103"/>
                </a:moveTo>
                <a:lnTo>
                  <a:pt x="6756" y="4593161"/>
                </a:lnTo>
                <a:cubicBezTo>
                  <a:pt x="73808" y="5295755"/>
                  <a:pt x="632132" y="5856894"/>
                  <a:pt x="1333460" y="5928306"/>
                </a:cubicBezTo>
                <a:lnTo>
                  <a:pt x="1476504" y="5935550"/>
                </a:lnTo>
                <a:lnTo>
                  <a:pt x="1476482" y="5935986"/>
                </a:lnTo>
                <a:lnTo>
                  <a:pt x="0" y="5935986"/>
                </a:lnTo>
                <a:lnTo>
                  <a:pt x="0" y="4453108"/>
                </a:lnTo>
                <a:close/>
                <a:moveTo>
                  <a:pt x="2961604" y="4450859"/>
                </a:moveTo>
                <a:lnTo>
                  <a:pt x="2961662" y="4451980"/>
                </a:lnTo>
                <a:lnTo>
                  <a:pt x="2961604" y="4453108"/>
                </a:lnTo>
                <a:lnTo>
                  <a:pt x="2961548" y="4451980"/>
                </a:lnTo>
                <a:close/>
                <a:moveTo>
                  <a:pt x="0" y="4450859"/>
                </a:moveTo>
                <a:lnTo>
                  <a:pt x="56" y="4452016"/>
                </a:lnTo>
                <a:lnTo>
                  <a:pt x="0" y="4453108"/>
                </a:lnTo>
                <a:close/>
                <a:moveTo>
                  <a:pt x="4441132" y="3079061"/>
                </a:moveTo>
                <a:lnTo>
                  <a:pt x="4443216" y="3120371"/>
                </a:lnTo>
                <a:cubicBezTo>
                  <a:pt x="4519386" y="3871850"/>
                  <a:pt x="5152756" y="4456984"/>
                  <a:pt x="5920656" y="4453108"/>
                </a:cubicBezTo>
                <a:lnTo>
                  <a:pt x="5920656" y="5935986"/>
                </a:lnTo>
                <a:lnTo>
                  <a:pt x="4446732" y="5935986"/>
                </a:lnTo>
                <a:cubicBezTo>
                  <a:pt x="4446732" y="5168081"/>
                  <a:pt x="3864988" y="4534710"/>
                  <a:pt x="3113948" y="4458539"/>
                </a:cubicBezTo>
                <a:lnTo>
                  <a:pt x="2984968" y="4452037"/>
                </a:lnTo>
                <a:lnTo>
                  <a:pt x="3113266" y="4446155"/>
                </a:lnTo>
                <a:cubicBezTo>
                  <a:pt x="3811478" y="4378226"/>
                  <a:pt x="4367956" y="3821751"/>
                  <a:pt x="4439052" y="3120371"/>
                </a:cubicBezTo>
                <a:close/>
                <a:moveTo>
                  <a:pt x="1480660" y="3056502"/>
                </a:moveTo>
                <a:lnTo>
                  <a:pt x="1483236" y="3110968"/>
                </a:lnTo>
                <a:cubicBezTo>
                  <a:pt x="1550286" y="3816773"/>
                  <a:pt x="2108612" y="4377923"/>
                  <a:pt x="2809944" y="4446155"/>
                </a:cubicBezTo>
                <a:lnTo>
                  <a:pt x="2938240" y="4452037"/>
                </a:lnTo>
                <a:lnTo>
                  <a:pt x="2809262" y="4458539"/>
                </a:lnTo>
                <a:cubicBezTo>
                  <a:pt x="2105164" y="4529949"/>
                  <a:pt x="1549860" y="5091086"/>
                  <a:pt x="1483200" y="5793684"/>
                </a:cubicBezTo>
                <a:lnTo>
                  <a:pt x="1480664" y="5847405"/>
                </a:lnTo>
                <a:lnTo>
                  <a:pt x="1477488" y="5784324"/>
                </a:lnTo>
                <a:cubicBezTo>
                  <a:pt x="1406488" y="5082991"/>
                  <a:pt x="848358" y="4524667"/>
                  <a:pt x="142946" y="4457616"/>
                </a:cubicBezTo>
                <a:lnTo>
                  <a:pt x="24152" y="4452001"/>
                </a:lnTo>
                <a:lnTo>
                  <a:pt x="151660" y="4446155"/>
                </a:lnTo>
                <a:cubicBezTo>
                  <a:pt x="849868" y="4378226"/>
                  <a:pt x="1406348" y="3821751"/>
                  <a:pt x="1477442" y="3120371"/>
                </a:cubicBezTo>
                <a:close/>
                <a:moveTo>
                  <a:pt x="5920656" y="1482856"/>
                </a:moveTo>
                <a:lnTo>
                  <a:pt x="5920656" y="4453108"/>
                </a:lnTo>
                <a:cubicBezTo>
                  <a:pt x="5920656" y="3685204"/>
                  <a:pt x="5338914" y="3051833"/>
                  <a:pt x="4587876" y="2975662"/>
                </a:cubicBezTo>
                <a:lnTo>
                  <a:pt x="4446704" y="2968545"/>
                </a:lnTo>
                <a:lnTo>
                  <a:pt x="4446732" y="2967982"/>
                </a:lnTo>
                <a:lnTo>
                  <a:pt x="4446702" y="2967416"/>
                </a:lnTo>
                <a:lnTo>
                  <a:pt x="4587192" y="2960302"/>
                </a:lnTo>
                <a:cubicBezTo>
                  <a:pt x="5335276" y="2884130"/>
                  <a:pt x="5920656" y="2250757"/>
                  <a:pt x="5920656" y="1482856"/>
                </a:cubicBezTo>
                <a:close/>
                <a:moveTo>
                  <a:pt x="0" y="1482856"/>
                </a:moveTo>
                <a:cubicBezTo>
                  <a:pt x="0" y="2301950"/>
                  <a:pt x="666028" y="2967982"/>
                  <a:pt x="1485122" y="2967982"/>
                </a:cubicBezTo>
                <a:lnTo>
                  <a:pt x="1480940" y="2968193"/>
                </a:lnTo>
                <a:lnTo>
                  <a:pt x="1476478" y="2967982"/>
                </a:lnTo>
                <a:lnTo>
                  <a:pt x="1476500" y="2968417"/>
                </a:lnTo>
                <a:lnTo>
                  <a:pt x="1332780" y="2975662"/>
                </a:lnTo>
                <a:cubicBezTo>
                  <a:pt x="631812" y="3046755"/>
                  <a:pt x="78318" y="3603231"/>
                  <a:pt x="7634" y="4301446"/>
                </a:cubicBezTo>
                <a:lnTo>
                  <a:pt x="112" y="4450864"/>
                </a:lnTo>
                <a:lnTo>
                  <a:pt x="0" y="4450859"/>
                </a:lnTo>
                <a:close/>
                <a:moveTo>
                  <a:pt x="4446732" y="0"/>
                </a:moveTo>
                <a:lnTo>
                  <a:pt x="5920656" y="0"/>
                </a:lnTo>
                <a:lnTo>
                  <a:pt x="5920656" y="1482856"/>
                </a:lnTo>
                <a:cubicBezTo>
                  <a:pt x="5148876" y="1482856"/>
                  <a:pt x="4518898" y="2068237"/>
                  <a:pt x="4443164" y="2816321"/>
                </a:cubicBezTo>
                <a:lnTo>
                  <a:pt x="4441132" y="2856735"/>
                </a:lnTo>
                <a:lnTo>
                  <a:pt x="4439096" y="2816321"/>
                </a:lnTo>
                <a:cubicBezTo>
                  <a:pt x="4368096" y="2114992"/>
                  <a:pt x="3809968" y="1556664"/>
                  <a:pt x="3104552" y="1489613"/>
                </a:cubicBezTo>
                <a:lnTo>
                  <a:pt x="2985984" y="1484008"/>
                </a:lnTo>
                <a:lnTo>
                  <a:pt x="3113266" y="1478173"/>
                </a:lnTo>
                <a:cubicBezTo>
                  <a:pt x="3861350" y="1405393"/>
                  <a:pt x="4446732" y="771780"/>
                  <a:pt x="4446732" y="0"/>
                </a:cubicBezTo>
                <a:close/>
                <a:moveTo>
                  <a:pt x="1476478" y="0"/>
                </a:moveTo>
                <a:lnTo>
                  <a:pt x="4446732" y="0"/>
                </a:lnTo>
                <a:cubicBezTo>
                  <a:pt x="3674950" y="0"/>
                  <a:pt x="3044972" y="585380"/>
                  <a:pt x="2969240" y="1333465"/>
                </a:cubicBezTo>
                <a:lnTo>
                  <a:pt x="2961720" y="1482861"/>
                </a:lnTo>
                <a:lnTo>
                  <a:pt x="2961604" y="1482856"/>
                </a:lnTo>
                <a:lnTo>
                  <a:pt x="2961660" y="1484024"/>
                </a:lnTo>
                <a:lnTo>
                  <a:pt x="2961604" y="1485126"/>
                </a:lnTo>
                <a:cubicBezTo>
                  <a:pt x="2961604" y="666032"/>
                  <a:pt x="2299710" y="0"/>
                  <a:pt x="1476478" y="0"/>
                </a:cubicBezTo>
                <a:close/>
                <a:moveTo>
                  <a:pt x="0" y="0"/>
                </a:moveTo>
                <a:lnTo>
                  <a:pt x="1476478" y="0"/>
                </a:lnTo>
                <a:cubicBezTo>
                  <a:pt x="1476478" y="823232"/>
                  <a:pt x="2142510" y="1489260"/>
                  <a:pt x="2961604" y="1485126"/>
                </a:cubicBezTo>
                <a:lnTo>
                  <a:pt x="2961712" y="1485121"/>
                </a:lnTo>
                <a:lnTo>
                  <a:pt x="2968362" y="1625158"/>
                </a:lnTo>
                <a:cubicBezTo>
                  <a:pt x="3035412" y="2327752"/>
                  <a:pt x="3593740" y="2888891"/>
                  <a:pt x="4295070" y="2960302"/>
                </a:cubicBezTo>
                <a:lnTo>
                  <a:pt x="4435560" y="2967416"/>
                </a:lnTo>
                <a:lnTo>
                  <a:pt x="4435532" y="2967982"/>
                </a:lnTo>
                <a:lnTo>
                  <a:pt x="4441132" y="2967698"/>
                </a:lnTo>
                <a:lnTo>
                  <a:pt x="4446732" y="2967982"/>
                </a:lnTo>
                <a:lnTo>
                  <a:pt x="4441132" y="2968264"/>
                </a:lnTo>
                <a:lnTo>
                  <a:pt x="4435536" y="2967982"/>
                </a:lnTo>
                <a:lnTo>
                  <a:pt x="4435564" y="2968545"/>
                </a:lnTo>
                <a:lnTo>
                  <a:pt x="4294388" y="2975662"/>
                </a:lnTo>
                <a:cubicBezTo>
                  <a:pt x="3593416" y="3046755"/>
                  <a:pt x="3039924" y="3603231"/>
                  <a:pt x="2969240" y="4301446"/>
                </a:cubicBezTo>
                <a:lnTo>
                  <a:pt x="2961718" y="4450865"/>
                </a:lnTo>
                <a:lnTo>
                  <a:pt x="2961604" y="4450859"/>
                </a:lnTo>
                <a:lnTo>
                  <a:pt x="2961492" y="4450865"/>
                </a:lnTo>
                <a:lnTo>
                  <a:pt x="2953970" y="4301446"/>
                </a:lnTo>
                <a:cubicBezTo>
                  <a:pt x="2882970" y="3600114"/>
                  <a:pt x="2324840" y="3041790"/>
                  <a:pt x="1619424" y="2974739"/>
                </a:cubicBezTo>
                <a:lnTo>
                  <a:pt x="1485102" y="2968390"/>
                </a:lnTo>
                <a:lnTo>
                  <a:pt x="1485122" y="2967982"/>
                </a:lnTo>
                <a:cubicBezTo>
                  <a:pt x="1485122" y="2148889"/>
                  <a:pt x="823228" y="1482856"/>
                  <a:pt x="0" y="1482856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0DA3F0B7-CF8B-4E1D-A434-A6009C5FC1F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04800" y="5988049"/>
            <a:ext cx="4974336" cy="260350"/>
          </a:xfrm>
        </p:spPr>
        <p:txBody>
          <a:bodyPr anchor="b"/>
          <a:lstStyle>
            <a:lvl1pPr>
              <a:spcBef>
                <a:spcPts val="0"/>
              </a:spcBef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Source: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992695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.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B9BF20-64D4-48D8-82F0-A805AF15E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A7733C7-0CC2-482C-8540-9B41B08450E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GB"/>
              <a:t>CLASSIFICATION: Internal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CD129D0-F9DC-4A5B-90AF-7A6DA1D34BA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9C47F3-E74D-462A-9E9A-E7164C68AF7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6867167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3. 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2AB73F6-59EC-4521-A4D4-F13CD1873F5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>
                <a:noFill/>
              </a:rPr>
              <a:t>CLASSIFICATION: Internal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1FC8CE2-D916-4FA0-B143-20316E5C324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219C47F3-E74D-462A-9E9A-E7164C68AF7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1C9F2A90-E93A-47F8-B1FB-E2C5B530EA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788325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Slide" preserve="1">
  <p:cSld name="Cover Slide">
    <p:bg>
      <p:bgPr>
        <a:solidFill>
          <a:schemeClr val="dk2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3;p29"/>
          <p:cNvSpPr txBox="1">
            <a:spLocks noGrp="1"/>
          </p:cNvSpPr>
          <p:nvPr>
            <p:ph type="title"/>
          </p:nvPr>
        </p:nvSpPr>
        <p:spPr>
          <a:xfrm>
            <a:off x="2819400" y="2848481"/>
            <a:ext cx="8886825" cy="6331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6000">
                <a:solidFill>
                  <a:schemeClr val="accent1"/>
                </a:solidFill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" name="Google Shape;14;p29"/>
          <p:cNvSpPr txBox="1">
            <a:spLocks noGrp="1"/>
          </p:cNvSpPr>
          <p:nvPr>
            <p:ph type="body" idx="1"/>
          </p:nvPr>
        </p:nvSpPr>
        <p:spPr>
          <a:xfrm>
            <a:off x="5105400" y="404050"/>
            <a:ext cx="6600825" cy="12723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r">
              <a:spcBef>
                <a:spcPts val="0"/>
              </a:spcBef>
              <a:spcAft>
                <a:spcPts val="0"/>
              </a:spcAft>
              <a:buSzPts val="1200"/>
              <a:buNone/>
              <a:defRPr sz="1200">
                <a:solidFill>
                  <a:schemeClr val="accent1"/>
                </a:solidFill>
              </a:defRPr>
            </a:lvl1pPr>
            <a:lvl2pPr marL="914400" lvl="1" indent="-228600" algn="r">
              <a:spcBef>
                <a:spcPts val="300"/>
              </a:spcBef>
              <a:spcAft>
                <a:spcPts val="0"/>
              </a:spcAft>
              <a:buSzPts val="1200"/>
              <a:buNone/>
              <a:defRPr sz="1200">
                <a:solidFill>
                  <a:schemeClr val="accent1"/>
                </a:solidFill>
              </a:defRPr>
            </a:lvl2pPr>
            <a:lvl3pPr marL="1371600" lvl="2" indent="-228600" algn="r">
              <a:spcBef>
                <a:spcPts val="300"/>
              </a:spcBef>
              <a:spcAft>
                <a:spcPts val="0"/>
              </a:spcAft>
              <a:buSzPts val="1200"/>
              <a:buFont typeface="Arial"/>
              <a:buNone/>
              <a:defRPr sz="1200">
                <a:solidFill>
                  <a:schemeClr val="accent1"/>
                </a:solidFill>
              </a:defRPr>
            </a:lvl3pPr>
            <a:lvl4pPr marL="1828800" lvl="3" indent="-228600" algn="r">
              <a:spcBef>
                <a:spcPts val="300"/>
              </a:spcBef>
              <a:spcAft>
                <a:spcPts val="0"/>
              </a:spcAft>
              <a:buSzPts val="1200"/>
              <a:buNone/>
              <a:defRPr sz="1200">
                <a:solidFill>
                  <a:schemeClr val="accent1"/>
                </a:solidFill>
              </a:defRPr>
            </a:lvl4pPr>
            <a:lvl5pPr marL="2286000" lvl="4" indent="-228600" algn="r">
              <a:spcBef>
                <a:spcPts val="300"/>
              </a:spcBef>
              <a:spcAft>
                <a:spcPts val="0"/>
              </a:spcAft>
              <a:buSzPts val="1200"/>
              <a:buFont typeface="Arial"/>
              <a:buNone/>
              <a:defRPr sz="1200">
                <a:solidFill>
                  <a:schemeClr val="accent1"/>
                </a:solidFill>
              </a:defRPr>
            </a:lvl5pPr>
            <a:lvl6pPr marL="2743200" lvl="5" indent="-342900" algn="l">
              <a:spcBef>
                <a:spcPts val="3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5" name="Google Shape;15;p29"/>
          <p:cNvPicPr preferRelativeResize="0"/>
          <p:nvPr/>
        </p:nvPicPr>
        <p:blipFill rotWithShape="1">
          <a:blip r:embed="rId2">
            <a:alphaModFix/>
          </a:blip>
          <a:srcRect r="42995" b="1323"/>
          <a:stretch/>
        </p:blipFill>
        <p:spPr>
          <a:xfrm>
            <a:off x="0" y="0"/>
            <a:ext cx="6067801" cy="686520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7" name="Google Shape;17;p29"/>
          <p:cNvCxnSpPr/>
          <p:nvPr/>
        </p:nvCxnSpPr>
        <p:spPr>
          <a:xfrm>
            <a:off x="8229600" y="4129190"/>
            <a:ext cx="3476846" cy="0"/>
          </a:xfrm>
          <a:prstGeom prst="straightConnector1">
            <a:avLst/>
          </a:prstGeom>
          <a:solidFill>
            <a:schemeClr val="accent2"/>
          </a:solidFill>
          <a:ln w="19050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8" name="Google Shape;18;p29"/>
          <p:cNvSpPr txBox="1">
            <a:spLocks noGrp="1"/>
          </p:cNvSpPr>
          <p:nvPr>
            <p:ph type="body" idx="2"/>
          </p:nvPr>
        </p:nvSpPr>
        <p:spPr>
          <a:xfrm>
            <a:off x="6124575" y="3745563"/>
            <a:ext cx="5581650" cy="16646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r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1pPr>
            <a:lvl2pPr marL="914400" lvl="1" indent="-228600" algn="r">
              <a:spcBef>
                <a:spcPts val="400"/>
              </a:spcBef>
              <a:spcAft>
                <a:spcPts val="0"/>
              </a:spcAft>
              <a:buSzPts val="1600"/>
              <a:buNone/>
              <a:defRPr sz="1600"/>
            </a:lvl2pPr>
            <a:lvl3pPr marL="1371600" lvl="2" indent="-228600" algn="r">
              <a:spcBef>
                <a:spcPts val="400"/>
              </a:spcBef>
              <a:spcAft>
                <a:spcPts val="0"/>
              </a:spcAft>
              <a:buSzPts val="1600"/>
              <a:buFont typeface="Arial"/>
              <a:buNone/>
              <a:defRPr sz="1600"/>
            </a:lvl3pPr>
            <a:lvl4pPr marL="1828800" lvl="3" indent="-228600" algn="r">
              <a:spcBef>
                <a:spcPts val="400"/>
              </a:spcBef>
              <a:spcAft>
                <a:spcPts val="0"/>
              </a:spcAft>
              <a:buSzPts val="1600"/>
              <a:buNone/>
              <a:defRPr sz="1600"/>
            </a:lvl4pPr>
            <a:lvl5pPr marL="2286000" lvl="4" indent="-228600" algn="r">
              <a:spcBef>
                <a:spcPts val="400"/>
              </a:spcBef>
              <a:spcAft>
                <a:spcPts val="0"/>
              </a:spcAft>
              <a:buSzPts val="1600"/>
              <a:buFont typeface="Arial"/>
              <a:buNone/>
              <a:defRPr sz="1600"/>
            </a:lvl5pPr>
            <a:lvl6pPr marL="2743200" lvl="5" indent="-342900" algn="l">
              <a:spcBef>
                <a:spcPts val="4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5C085DE-D189-CF60-62BA-FA17A2C755E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2807" y="2818253"/>
            <a:ext cx="1913751" cy="1671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0226892"/>
      </p:ext>
    </p:extLst>
  </p:cSld>
  <p:clrMapOvr>
    <a:masterClrMapping/>
  </p:clrMapOvr>
  <p:transition>
    <p:wipe dir="r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Slide (dark)" preserve="1">
  <p:cSld name="Cover Slide (dark)">
    <p:bg>
      <p:bgPr>
        <a:solidFill>
          <a:schemeClr val="dk2"/>
        </a:solidFill>
        <a:effectLst/>
      </p:bgPr>
    </p:bg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oogle Shape;20;p30"/>
          <p:cNvPicPr preferRelativeResize="0"/>
          <p:nvPr/>
        </p:nvPicPr>
        <p:blipFill rotWithShape="1">
          <a:blip r:embed="rId2">
            <a:alphaModFix/>
          </a:blip>
          <a:srcRect l="50000" r="18360"/>
          <a:stretch/>
        </p:blipFill>
        <p:spPr>
          <a:xfrm rot="-5400000">
            <a:off x="2667002" y="-2667003"/>
            <a:ext cx="6858002" cy="12192003"/>
          </a:xfrm>
          <a:prstGeom prst="rect">
            <a:avLst/>
          </a:prstGeom>
          <a:noFill/>
          <a:ln>
            <a:noFill/>
          </a:ln>
        </p:spPr>
      </p:pic>
      <p:sp>
        <p:nvSpPr>
          <p:cNvPr id="21" name="Google Shape;21;p30"/>
          <p:cNvSpPr txBox="1">
            <a:spLocks noGrp="1"/>
          </p:cNvSpPr>
          <p:nvPr>
            <p:ph type="body" idx="1"/>
          </p:nvPr>
        </p:nvSpPr>
        <p:spPr>
          <a:xfrm>
            <a:off x="6124575" y="3751308"/>
            <a:ext cx="5581650" cy="15826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r">
              <a:spcBef>
                <a:spcPts val="0"/>
              </a:spcBef>
              <a:spcAft>
                <a:spcPts val="0"/>
              </a:spcAft>
              <a:buSzPts val="1600"/>
              <a:buNone/>
              <a:defRPr sz="1600">
                <a:solidFill>
                  <a:srgbClr val="FFFFFF"/>
                </a:solidFill>
              </a:defRPr>
            </a:lvl1pPr>
            <a:lvl2pPr marL="914400" lvl="1" indent="-228600" algn="r">
              <a:spcBef>
                <a:spcPts val="400"/>
              </a:spcBef>
              <a:spcAft>
                <a:spcPts val="0"/>
              </a:spcAft>
              <a:buSzPts val="1600"/>
              <a:buNone/>
              <a:defRPr sz="1600">
                <a:solidFill>
                  <a:srgbClr val="FFFFFF"/>
                </a:solidFill>
              </a:defRPr>
            </a:lvl2pPr>
            <a:lvl3pPr marL="1371600" lvl="2" indent="-228600" algn="r">
              <a:spcBef>
                <a:spcPts val="400"/>
              </a:spcBef>
              <a:spcAft>
                <a:spcPts val="0"/>
              </a:spcAft>
              <a:buSzPts val="1600"/>
              <a:buFont typeface="Arial"/>
              <a:buNone/>
              <a:defRPr sz="1600">
                <a:solidFill>
                  <a:srgbClr val="FFFFFF"/>
                </a:solidFill>
              </a:defRPr>
            </a:lvl3pPr>
            <a:lvl4pPr marL="1828800" lvl="3" indent="-228600" algn="r">
              <a:spcBef>
                <a:spcPts val="400"/>
              </a:spcBef>
              <a:spcAft>
                <a:spcPts val="0"/>
              </a:spcAft>
              <a:buSzPts val="1600"/>
              <a:buNone/>
              <a:defRPr sz="1600">
                <a:solidFill>
                  <a:srgbClr val="FFFFFF"/>
                </a:solidFill>
              </a:defRPr>
            </a:lvl4pPr>
            <a:lvl5pPr marL="2286000" lvl="4" indent="-228600" algn="r">
              <a:spcBef>
                <a:spcPts val="400"/>
              </a:spcBef>
              <a:spcAft>
                <a:spcPts val="0"/>
              </a:spcAft>
              <a:buSzPts val="1600"/>
              <a:buFont typeface="Arial"/>
              <a:buNone/>
              <a:defRPr sz="1600">
                <a:solidFill>
                  <a:srgbClr val="FFFFFF"/>
                </a:solidFill>
              </a:defRPr>
            </a:lvl5pPr>
            <a:lvl6pPr marL="2743200" lvl="5" indent="-342900" algn="l">
              <a:spcBef>
                <a:spcPts val="4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3" name="Google Shape;23;p30"/>
          <p:cNvCxnSpPr/>
          <p:nvPr/>
        </p:nvCxnSpPr>
        <p:spPr>
          <a:xfrm>
            <a:off x="0" y="6492239"/>
            <a:ext cx="10373360" cy="0"/>
          </a:xfrm>
          <a:prstGeom prst="straightConnector1">
            <a:avLst/>
          </a:prstGeom>
          <a:solidFill>
            <a:schemeClr val="accent2"/>
          </a:solidFill>
          <a:ln w="19050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4" name="Google Shape;24;p30"/>
          <p:cNvSpPr txBox="1">
            <a:spLocks noGrp="1"/>
          </p:cNvSpPr>
          <p:nvPr>
            <p:ph type="title"/>
          </p:nvPr>
        </p:nvSpPr>
        <p:spPr>
          <a:xfrm>
            <a:off x="3200400" y="2848481"/>
            <a:ext cx="8505825" cy="6331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6000">
                <a:solidFill>
                  <a:srgbClr val="FFFFFF"/>
                </a:solidFill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" name="Google Shape;25;p30"/>
          <p:cNvSpPr txBox="1">
            <a:spLocks noGrp="1"/>
          </p:cNvSpPr>
          <p:nvPr>
            <p:ph type="body" idx="2"/>
          </p:nvPr>
        </p:nvSpPr>
        <p:spPr>
          <a:xfrm>
            <a:off x="5105400" y="404050"/>
            <a:ext cx="6600825" cy="10437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r">
              <a:spcBef>
                <a:spcPts val="0"/>
              </a:spcBef>
              <a:spcAft>
                <a:spcPts val="0"/>
              </a:spcAft>
              <a:buSzPts val="1200"/>
              <a:buNone/>
              <a:defRPr sz="1200">
                <a:solidFill>
                  <a:schemeClr val="accent4"/>
                </a:solidFill>
              </a:defRPr>
            </a:lvl1pPr>
            <a:lvl2pPr marL="914400" lvl="1" indent="-228600" algn="r">
              <a:spcBef>
                <a:spcPts val="300"/>
              </a:spcBef>
              <a:spcAft>
                <a:spcPts val="0"/>
              </a:spcAft>
              <a:buSzPts val="1200"/>
              <a:buNone/>
              <a:defRPr sz="1200">
                <a:solidFill>
                  <a:schemeClr val="accent4"/>
                </a:solidFill>
              </a:defRPr>
            </a:lvl2pPr>
            <a:lvl3pPr marL="1371600" lvl="2" indent="-228600" algn="r">
              <a:spcBef>
                <a:spcPts val="300"/>
              </a:spcBef>
              <a:spcAft>
                <a:spcPts val="0"/>
              </a:spcAft>
              <a:buSzPts val="1200"/>
              <a:buFont typeface="Arial"/>
              <a:buNone/>
              <a:defRPr sz="1200">
                <a:solidFill>
                  <a:schemeClr val="accent4"/>
                </a:solidFill>
              </a:defRPr>
            </a:lvl3pPr>
            <a:lvl4pPr marL="1828800" lvl="3" indent="-228600" algn="r">
              <a:spcBef>
                <a:spcPts val="300"/>
              </a:spcBef>
              <a:spcAft>
                <a:spcPts val="0"/>
              </a:spcAft>
              <a:buSzPts val="1200"/>
              <a:buNone/>
              <a:defRPr sz="1200">
                <a:solidFill>
                  <a:schemeClr val="accent4"/>
                </a:solidFill>
              </a:defRPr>
            </a:lvl4pPr>
            <a:lvl5pPr marL="2286000" lvl="4" indent="-228600" algn="r">
              <a:spcBef>
                <a:spcPts val="300"/>
              </a:spcBef>
              <a:spcAft>
                <a:spcPts val="0"/>
              </a:spcAft>
              <a:buSzPts val="1200"/>
              <a:buFont typeface="Arial"/>
              <a:buNone/>
              <a:defRPr sz="1200">
                <a:solidFill>
                  <a:schemeClr val="accent4"/>
                </a:solidFill>
              </a:defRPr>
            </a:lvl5pPr>
            <a:lvl6pPr marL="2743200" lvl="5" indent="-342900" algn="l">
              <a:spcBef>
                <a:spcPts val="3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6" name="Google Shape;26;p3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566400" y="6399249"/>
            <a:ext cx="1205930" cy="165520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584B943-0559-9E9A-9C7C-73DCC2A68B6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96367" y="2817560"/>
            <a:ext cx="1913751" cy="1671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84619"/>
      </p:ext>
    </p:extLst>
  </p:cSld>
  <p:clrMapOvr>
    <a:masterClrMapping/>
  </p:clrMapOvr>
  <p:transition>
    <p:wipe dir="r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Slide C" preserve="1" userDrawn="1">
  <p:cSld name="Cover Slide C">
    <p:bg>
      <p:bgPr>
        <a:solidFill>
          <a:schemeClr val="dk2"/>
        </a:solidFill>
        <a:effectLst/>
      </p:bgPr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Google Shape;28;p31"/>
          <p:cNvSpPr>
            <a:spLocks noGrp="1"/>
          </p:cNvSpPr>
          <p:nvPr>
            <p:ph type="pic" idx="2"/>
          </p:nvPr>
        </p:nvSpPr>
        <p:spPr>
          <a:xfrm>
            <a:off x="5638800" y="1856581"/>
            <a:ext cx="6553200" cy="3144838"/>
          </a:xfrm>
          <a:prstGeom prst="rect">
            <a:avLst/>
          </a:prstGeom>
          <a:noFill/>
          <a:ln>
            <a:noFill/>
          </a:ln>
        </p:spPr>
      </p:sp>
      <p:cxnSp>
        <p:nvCxnSpPr>
          <p:cNvPr id="29" name="Google Shape;29;p31"/>
          <p:cNvCxnSpPr/>
          <p:nvPr/>
        </p:nvCxnSpPr>
        <p:spPr>
          <a:xfrm>
            <a:off x="0" y="6492239"/>
            <a:ext cx="10373360" cy="0"/>
          </a:xfrm>
          <a:prstGeom prst="straightConnector1">
            <a:avLst/>
          </a:prstGeom>
          <a:solidFill>
            <a:schemeClr val="accent2"/>
          </a:solidFill>
          <a:ln w="19050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31" name="Google Shape;31;p31"/>
          <p:cNvCxnSpPr/>
          <p:nvPr/>
        </p:nvCxnSpPr>
        <p:spPr>
          <a:xfrm>
            <a:off x="513754" y="4724400"/>
            <a:ext cx="4744046" cy="0"/>
          </a:xfrm>
          <a:prstGeom prst="straightConnector1">
            <a:avLst/>
          </a:prstGeom>
          <a:solidFill>
            <a:schemeClr val="accent2"/>
          </a:solidFill>
          <a:ln w="19050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2" name="Google Shape;32;p31"/>
          <p:cNvSpPr txBox="1">
            <a:spLocks noGrp="1"/>
          </p:cNvSpPr>
          <p:nvPr>
            <p:ph type="body" idx="1"/>
          </p:nvPr>
        </p:nvSpPr>
        <p:spPr>
          <a:xfrm>
            <a:off x="513754" y="4377404"/>
            <a:ext cx="5581650" cy="8041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accent1"/>
                </a:solidFill>
              </a:defRPr>
            </a:lvl1pPr>
            <a:lvl2pPr marL="914400" lvl="1" indent="-228600" algn="l">
              <a:spcBef>
                <a:spcPts val="40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accent1"/>
                </a:solidFill>
              </a:defRPr>
            </a:lvl2pPr>
            <a:lvl3pPr marL="1371600" lvl="2" indent="-228600" algn="l">
              <a:spcBef>
                <a:spcPts val="400"/>
              </a:spcBef>
              <a:spcAft>
                <a:spcPts val="0"/>
              </a:spcAft>
              <a:buSzPts val="1600"/>
              <a:buFont typeface="Arial"/>
              <a:buNone/>
              <a:defRPr sz="1600">
                <a:solidFill>
                  <a:schemeClr val="accent1"/>
                </a:solidFill>
              </a:defRPr>
            </a:lvl3pPr>
            <a:lvl4pPr marL="1828800" lvl="3" indent="-228600" algn="l">
              <a:spcBef>
                <a:spcPts val="40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accent1"/>
                </a:solidFill>
              </a:defRPr>
            </a:lvl4pPr>
            <a:lvl5pPr marL="2286000" lvl="4" indent="-228600" algn="l">
              <a:spcBef>
                <a:spcPts val="400"/>
              </a:spcBef>
              <a:spcAft>
                <a:spcPts val="0"/>
              </a:spcAft>
              <a:buSzPts val="1600"/>
              <a:buFont typeface="Arial"/>
              <a:buNone/>
              <a:defRPr sz="1600">
                <a:solidFill>
                  <a:schemeClr val="accent1"/>
                </a:solidFill>
              </a:defRPr>
            </a:lvl5pPr>
            <a:lvl6pPr marL="2743200" lvl="5" indent="-342900" algn="l">
              <a:spcBef>
                <a:spcPts val="4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" name="Google Shape;33;p31"/>
          <p:cNvSpPr txBox="1">
            <a:spLocks noGrp="1"/>
          </p:cNvSpPr>
          <p:nvPr>
            <p:ph type="body" idx="3"/>
          </p:nvPr>
        </p:nvSpPr>
        <p:spPr>
          <a:xfrm>
            <a:off x="513754" y="1447800"/>
            <a:ext cx="4820246" cy="26418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6000"/>
              <a:buNone/>
              <a:defRPr sz="6000" b="1">
                <a:solidFill>
                  <a:schemeClr val="accent1"/>
                </a:solidFill>
              </a:defRPr>
            </a:lvl1pPr>
            <a:lvl2pPr marL="914400" lvl="1" indent="-228600" algn="l">
              <a:spcBef>
                <a:spcPts val="1500"/>
              </a:spcBef>
              <a:spcAft>
                <a:spcPts val="0"/>
              </a:spcAft>
              <a:buSzPts val="6000"/>
              <a:buNone/>
              <a:defRPr sz="6000" b="1">
                <a:solidFill>
                  <a:schemeClr val="accent1"/>
                </a:solidFill>
              </a:defRPr>
            </a:lvl2pPr>
            <a:lvl3pPr marL="1371600" lvl="2" indent="-228600" algn="l">
              <a:spcBef>
                <a:spcPts val="1500"/>
              </a:spcBef>
              <a:spcAft>
                <a:spcPts val="0"/>
              </a:spcAft>
              <a:buSzPts val="6000"/>
              <a:buFont typeface="Arial"/>
              <a:buNone/>
              <a:defRPr sz="6000" b="1">
                <a:solidFill>
                  <a:schemeClr val="accent1"/>
                </a:solidFill>
              </a:defRPr>
            </a:lvl3pPr>
            <a:lvl4pPr marL="1828800" lvl="3" indent="-228600" algn="l">
              <a:spcBef>
                <a:spcPts val="1500"/>
              </a:spcBef>
              <a:spcAft>
                <a:spcPts val="0"/>
              </a:spcAft>
              <a:buSzPts val="6000"/>
              <a:buNone/>
              <a:defRPr sz="6000" b="1">
                <a:solidFill>
                  <a:schemeClr val="accent1"/>
                </a:solidFill>
              </a:defRPr>
            </a:lvl4pPr>
            <a:lvl5pPr marL="2286000" lvl="4" indent="-228600" algn="l">
              <a:spcBef>
                <a:spcPts val="1500"/>
              </a:spcBef>
              <a:spcAft>
                <a:spcPts val="0"/>
              </a:spcAft>
              <a:buSzPts val="6000"/>
              <a:buFont typeface="Arial"/>
              <a:buNone/>
              <a:defRPr sz="6000" b="1">
                <a:solidFill>
                  <a:schemeClr val="accent1"/>
                </a:solidFill>
              </a:defRPr>
            </a:lvl5pPr>
            <a:lvl6pPr marL="2743200" lvl="5" indent="-342900" algn="l">
              <a:spcBef>
                <a:spcPts val="15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 dirty="0"/>
          </a:p>
        </p:txBody>
      </p:sp>
      <p:pic>
        <p:nvPicPr>
          <p:cNvPr id="34" name="Google Shape;34;p3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566400" y="6399249"/>
            <a:ext cx="1205930" cy="16552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Google Shape;14;p29">
            <a:extLst>
              <a:ext uri="{FF2B5EF4-FFF2-40B4-BE49-F238E27FC236}">
                <a16:creationId xmlns:a16="http://schemas.microsoft.com/office/drawing/2014/main" id="{885D0319-497F-5A4A-FDF3-A5640F60F6F5}"/>
              </a:ext>
            </a:extLst>
          </p:cNvPr>
          <p:cNvSpPr txBox="1">
            <a:spLocks noGrp="1"/>
          </p:cNvSpPr>
          <p:nvPr>
            <p:ph type="body" idx="10"/>
          </p:nvPr>
        </p:nvSpPr>
        <p:spPr>
          <a:xfrm>
            <a:off x="5105400" y="404050"/>
            <a:ext cx="6600825" cy="12723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r">
              <a:spcBef>
                <a:spcPts val="0"/>
              </a:spcBef>
              <a:spcAft>
                <a:spcPts val="0"/>
              </a:spcAft>
              <a:buSzPts val="1200"/>
              <a:buNone/>
              <a:defRPr sz="1200">
                <a:solidFill>
                  <a:schemeClr val="accent1"/>
                </a:solidFill>
              </a:defRPr>
            </a:lvl1pPr>
            <a:lvl2pPr marL="914400" lvl="1" indent="-228600" algn="r">
              <a:spcBef>
                <a:spcPts val="300"/>
              </a:spcBef>
              <a:spcAft>
                <a:spcPts val="0"/>
              </a:spcAft>
              <a:buSzPts val="1200"/>
              <a:buNone/>
              <a:defRPr sz="1200">
                <a:solidFill>
                  <a:schemeClr val="accent1"/>
                </a:solidFill>
              </a:defRPr>
            </a:lvl2pPr>
            <a:lvl3pPr marL="1371600" lvl="2" indent="-228600" algn="r">
              <a:spcBef>
                <a:spcPts val="300"/>
              </a:spcBef>
              <a:spcAft>
                <a:spcPts val="0"/>
              </a:spcAft>
              <a:buSzPts val="1200"/>
              <a:buFont typeface="Arial"/>
              <a:buNone/>
              <a:defRPr sz="1200">
                <a:solidFill>
                  <a:schemeClr val="accent1"/>
                </a:solidFill>
              </a:defRPr>
            </a:lvl3pPr>
            <a:lvl4pPr marL="1828800" lvl="3" indent="-228600" algn="r">
              <a:spcBef>
                <a:spcPts val="300"/>
              </a:spcBef>
              <a:spcAft>
                <a:spcPts val="0"/>
              </a:spcAft>
              <a:buSzPts val="1200"/>
              <a:buNone/>
              <a:defRPr sz="1200">
                <a:solidFill>
                  <a:schemeClr val="accent1"/>
                </a:solidFill>
              </a:defRPr>
            </a:lvl4pPr>
            <a:lvl5pPr marL="2286000" lvl="4" indent="-228600" algn="r">
              <a:spcBef>
                <a:spcPts val="300"/>
              </a:spcBef>
              <a:spcAft>
                <a:spcPts val="0"/>
              </a:spcAft>
              <a:buSzPts val="1200"/>
              <a:buFont typeface="Arial"/>
              <a:buNone/>
              <a:defRPr sz="1200">
                <a:solidFill>
                  <a:schemeClr val="accent1"/>
                </a:solidFill>
              </a:defRPr>
            </a:lvl5pPr>
            <a:lvl6pPr marL="2743200" lvl="5" indent="-342900" algn="l">
              <a:spcBef>
                <a:spcPts val="3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" name="Picture 1" descr="A green and black logo&#10;&#10;Description automatically generated">
            <a:extLst>
              <a:ext uri="{FF2B5EF4-FFF2-40B4-BE49-F238E27FC236}">
                <a16:creationId xmlns:a16="http://schemas.microsoft.com/office/drawing/2014/main" id="{7EE22A92-27F3-F857-8AC1-E01AFBFEBAB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721" y="25560"/>
            <a:ext cx="3222391" cy="1422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5899306"/>
      </p:ext>
    </p:extLst>
  </p:cSld>
  <p:clrMapOvr>
    <a:masterClrMapping/>
  </p:clrMapOvr>
  <p:transition>
    <p:wipe dir="r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+ image + data" preserve="1">
  <p:cSld name="Content + image + data">
    <p:bg>
      <p:bgPr>
        <a:solidFill>
          <a:schemeClr val="dk2"/>
        </a:solidFill>
        <a:effectLst/>
      </p:bgPr>
    </p:bg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32"/>
          <p:cNvSpPr/>
          <p:nvPr/>
        </p:nvSpPr>
        <p:spPr>
          <a:xfrm>
            <a:off x="12726" y="0"/>
            <a:ext cx="11132288" cy="586917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" name="Google Shape;37;p32"/>
          <p:cNvSpPr>
            <a:spLocks noGrp="1"/>
          </p:cNvSpPr>
          <p:nvPr>
            <p:ph type="pic" idx="2"/>
          </p:nvPr>
        </p:nvSpPr>
        <p:spPr>
          <a:xfrm>
            <a:off x="0" y="2362200"/>
            <a:ext cx="6096000" cy="3168650"/>
          </a:xfrm>
          <a:prstGeom prst="rect">
            <a:avLst/>
          </a:prstGeom>
          <a:noFill/>
          <a:ln>
            <a:noFill/>
          </a:ln>
        </p:spPr>
      </p:sp>
      <p:sp>
        <p:nvSpPr>
          <p:cNvPr id="38" name="Google Shape;38;p32"/>
          <p:cNvSpPr txBox="1">
            <a:spLocks noGrp="1"/>
          </p:cNvSpPr>
          <p:nvPr>
            <p:ph type="title"/>
          </p:nvPr>
        </p:nvSpPr>
        <p:spPr>
          <a:xfrm>
            <a:off x="542925" y="1257677"/>
            <a:ext cx="10023475" cy="81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200">
                <a:solidFill>
                  <a:schemeClr val="accent1"/>
                </a:solidFill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39" name="Google Shape;39;p32"/>
          <p:cNvSpPr txBox="1">
            <a:spLocks noGrp="1"/>
          </p:cNvSpPr>
          <p:nvPr>
            <p:ph type="sldNum" idx="12"/>
          </p:nvPr>
        </p:nvSpPr>
        <p:spPr>
          <a:xfrm>
            <a:off x="10512506" y="375991"/>
            <a:ext cx="1259824" cy="20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spcAft>
                <a:spcPts val="0"/>
              </a:spcAft>
              <a:buNone/>
              <a:defRPr sz="1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spcAft>
                <a:spcPts val="0"/>
              </a:spcAft>
              <a:buNone/>
              <a:defRPr sz="1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spcAft>
                <a:spcPts val="0"/>
              </a:spcAft>
              <a:buNone/>
              <a:defRPr sz="1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spcAft>
                <a:spcPts val="0"/>
              </a:spcAft>
              <a:buNone/>
              <a:defRPr sz="1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spcAft>
                <a:spcPts val="0"/>
              </a:spcAft>
              <a:buNone/>
              <a:defRPr sz="1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spcAft>
                <a:spcPts val="0"/>
              </a:spcAft>
              <a:buNone/>
              <a:defRPr sz="1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spcAft>
                <a:spcPts val="0"/>
              </a:spcAft>
              <a:buNone/>
              <a:defRPr sz="1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spcAft>
                <a:spcPts val="0"/>
              </a:spcAft>
              <a:buNone/>
              <a:defRPr sz="1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spcAft>
                <a:spcPts val="0"/>
              </a:spcAft>
              <a:buNone/>
              <a:defRPr sz="1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1" name="Google Shape;41;p32"/>
          <p:cNvSpPr txBox="1">
            <a:spLocks noGrp="1"/>
          </p:cNvSpPr>
          <p:nvPr>
            <p:ph type="body" idx="1"/>
          </p:nvPr>
        </p:nvSpPr>
        <p:spPr>
          <a:xfrm>
            <a:off x="542925" y="3246375"/>
            <a:ext cx="4562475" cy="11036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rgbClr val="FFFFFF"/>
                </a:solidFill>
              </a:defRPr>
            </a:lvl1pPr>
            <a:lvl2pPr marL="914400" lvl="1" indent="-228600" algn="l">
              <a:spcBef>
                <a:spcPts val="600"/>
              </a:spcBef>
              <a:spcAft>
                <a:spcPts val="0"/>
              </a:spcAft>
              <a:buSzPts val="2400"/>
              <a:buNone/>
              <a:defRPr sz="2400">
                <a:solidFill>
                  <a:srgbClr val="FFFFFF"/>
                </a:solidFill>
              </a:defRPr>
            </a:lvl2pPr>
            <a:lvl3pPr marL="1371600" lvl="2" indent="-228600" algn="l">
              <a:spcBef>
                <a:spcPts val="600"/>
              </a:spcBef>
              <a:spcAft>
                <a:spcPts val="0"/>
              </a:spcAft>
              <a:buSzPts val="2400"/>
              <a:buFont typeface="Arial"/>
              <a:buNone/>
              <a:defRPr sz="2400">
                <a:solidFill>
                  <a:srgbClr val="FFFFFF"/>
                </a:solidFill>
              </a:defRPr>
            </a:lvl3pPr>
            <a:lvl4pPr marL="1828800" lvl="3" indent="-228600" algn="l">
              <a:spcBef>
                <a:spcPts val="600"/>
              </a:spcBef>
              <a:spcAft>
                <a:spcPts val="0"/>
              </a:spcAft>
              <a:buSzPts val="2400"/>
              <a:buNone/>
              <a:defRPr sz="2400">
                <a:solidFill>
                  <a:srgbClr val="FFFFFF"/>
                </a:solidFill>
              </a:defRPr>
            </a:lvl4pPr>
            <a:lvl5pPr marL="2286000" lvl="4" indent="-228600" algn="l">
              <a:spcBef>
                <a:spcPts val="600"/>
              </a:spcBef>
              <a:spcAft>
                <a:spcPts val="0"/>
              </a:spcAft>
              <a:buSzPts val="2400"/>
              <a:buFont typeface="Arial"/>
              <a:buNone/>
              <a:defRPr sz="2400">
                <a:solidFill>
                  <a:srgbClr val="FFFFFF"/>
                </a:solidFill>
              </a:defRPr>
            </a:lvl5pPr>
            <a:lvl6pPr marL="2743200" lvl="5" indent="-342900" algn="l"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" name="Google Shape;42;p32"/>
          <p:cNvSpPr txBox="1">
            <a:spLocks noGrp="1"/>
          </p:cNvSpPr>
          <p:nvPr>
            <p:ph type="body" idx="3"/>
          </p:nvPr>
        </p:nvSpPr>
        <p:spPr>
          <a:xfrm>
            <a:off x="542924" y="4498975"/>
            <a:ext cx="4562895" cy="4651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accent4"/>
                </a:solidFill>
              </a:defRPr>
            </a:lvl1pPr>
            <a:lvl2pPr marL="914400" lvl="1" indent="-228600" algn="l">
              <a:spcBef>
                <a:spcPts val="40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accent4"/>
                </a:solidFill>
              </a:defRPr>
            </a:lvl2pPr>
            <a:lvl3pPr marL="1371600" lvl="2" indent="-228600" algn="l">
              <a:spcBef>
                <a:spcPts val="400"/>
              </a:spcBef>
              <a:spcAft>
                <a:spcPts val="0"/>
              </a:spcAft>
              <a:buSzPts val="1600"/>
              <a:buFont typeface="Arial"/>
              <a:buNone/>
              <a:defRPr sz="1600">
                <a:solidFill>
                  <a:schemeClr val="accent4"/>
                </a:solidFill>
              </a:defRPr>
            </a:lvl3pPr>
            <a:lvl4pPr marL="1828800" lvl="3" indent="-228600" algn="l">
              <a:spcBef>
                <a:spcPts val="400"/>
              </a:spcBef>
              <a:spcAft>
                <a:spcPts val="0"/>
              </a:spcAft>
              <a:buSzPts val="1600"/>
              <a:buNone/>
              <a:defRPr sz="1600">
                <a:solidFill>
                  <a:schemeClr val="accent4"/>
                </a:solidFill>
              </a:defRPr>
            </a:lvl4pPr>
            <a:lvl5pPr marL="2286000" lvl="4" indent="-228600" algn="l">
              <a:spcBef>
                <a:spcPts val="400"/>
              </a:spcBef>
              <a:spcAft>
                <a:spcPts val="0"/>
              </a:spcAft>
              <a:buSzPts val="1600"/>
              <a:buFont typeface="Arial"/>
              <a:buNone/>
              <a:defRPr sz="1600">
                <a:solidFill>
                  <a:schemeClr val="accent4"/>
                </a:solidFill>
              </a:defRPr>
            </a:lvl5pPr>
            <a:lvl6pPr marL="2743200" lvl="5" indent="-342900" algn="l">
              <a:spcBef>
                <a:spcPts val="4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" name="Google Shape;43;p32"/>
          <p:cNvSpPr txBox="1">
            <a:spLocks noGrp="1"/>
          </p:cNvSpPr>
          <p:nvPr>
            <p:ph type="body" idx="4"/>
          </p:nvPr>
        </p:nvSpPr>
        <p:spPr>
          <a:xfrm>
            <a:off x="6324600" y="2362200"/>
            <a:ext cx="1828800" cy="81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1pPr>
            <a:lvl2pPr marL="914400" lvl="1" indent="-228600" algn="l">
              <a:spcBef>
                <a:spcPts val="1000"/>
              </a:spcBef>
              <a:spcAft>
                <a:spcPts val="0"/>
              </a:spcAft>
              <a:buSzPts val="2000"/>
              <a:buNone/>
              <a:defRPr/>
            </a:lvl2pPr>
            <a:lvl3pPr marL="1371600" lvl="2" indent="-228600" algn="l">
              <a:spcBef>
                <a:spcPts val="500"/>
              </a:spcBef>
              <a:spcAft>
                <a:spcPts val="0"/>
              </a:spcAft>
              <a:buSzPts val="2000"/>
              <a:buFont typeface="Arial"/>
              <a:buNone/>
              <a:defRPr/>
            </a:lvl3pPr>
            <a:lvl4pPr marL="1828800" lvl="3" indent="-228600" algn="l">
              <a:spcBef>
                <a:spcPts val="500"/>
              </a:spcBef>
              <a:spcAft>
                <a:spcPts val="0"/>
              </a:spcAft>
              <a:buSzPts val="2000"/>
              <a:buNone/>
              <a:defRPr/>
            </a:lvl4pPr>
            <a:lvl5pPr marL="2286000" lvl="4" indent="-228600" algn="l">
              <a:spcBef>
                <a:spcPts val="500"/>
              </a:spcBef>
              <a:spcAft>
                <a:spcPts val="0"/>
              </a:spcAft>
              <a:buSzPts val="2000"/>
              <a:buFont typeface="Arial"/>
              <a:buNone/>
              <a:defRPr/>
            </a:lvl5pPr>
            <a:lvl6pPr marL="2743200" lvl="5" indent="-342900" algn="l"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" name="Google Shape;44;p32"/>
          <p:cNvSpPr txBox="1">
            <a:spLocks noGrp="1"/>
          </p:cNvSpPr>
          <p:nvPr>
            <p:ph type="body" idx="5"/>
          </p:nvPr>
        </p:nvSpPr>
        <p:spPr>
          <a:xfrm>
            <a:off x="6324600" y="3446784"/>
            <a:ext cx="1828800" cy="38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1pPr>
            <a:lvl2pPr marL="914400" lvl="1" indent="-228600" algn="l">
              <a:spcBef>
                <a:spcPts val="250"/>
              </a:spcBef>
              <a:spcAft>
                <a:spcPts val="0"/>
              </a:spcAft>
              <a:buSzPts val="1000"/>
              <a:buNone/>
              <a:defRPr sz="1000"/>
            </a:lvl2pPr>
            <a:lvl3pPr marL="1371600" lvl="2" indent="-228600" algn="l">
              <a:spcBef>
                <a:spcPts val="250"/>
              </a:spcBef>
              <a:spcAft>
                <a:spcPts val="0"/>
              </a:spcAft>
              <a:buSzPts val="1000"/>
              <a:buFont typeface="Arial"/>
              <a:buNone/>
              <a:defRPr sz="1000"/>
            </a:lvl3pPr>
            <a:lvl4pPr marL="1828800" lvl="3" indent="-228600" algn="l">
              <a:spcBef>
                <a:spcPts val="250"/>
              </a:spcBef>
              <a:spcAft>
                <a:spcPts val="0"/>
              </a:spcAft>
              <a:buSzPts val="1000"/>
              <a:buNone/>
              <a:defRPr sz="1000"/>
            </a:lvl4pPr>
            <a:lvl5pPr marL="2286000" lvl="4" indent="-228600" algn="l">
              <a:spcBef>
                <a:spcPts val="250"/>
              </a:spcBef>
              <a:spcAft>
                <a:spcPts val="0"/>
              </a:spcAft>
              <a:buSzPts val="1000"/>
              <a:buFont typeface="Arial"/>
              <a:buNone/>
              <a:defRPr sz="1000"/>
            </a:lvl5pPr>
            <a:lvl6pPr marL="2743200" lvl="5" indent="-342900" algn="l">
              <a:spcBef>
                <a:spcPts val="25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" name="Google Shape;45;p32"/>
          <p:cNvSpPr txBox="1">
            <a:spLocks noGrp="1"/>
          </p:cNvSpPr>
          <p:nvPr>
            <p:ph type="body" idx="6"/>
          </p:nvPr>
        </p:nvSpPr>
        <p:spPr>
          <a:xfrm>
            <a:off x="8490136" y="2362200"/>
            <a:ext cx="1828800" cy="81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solidFill>
                  <a:schemeClr val="lt2"/>
                </a:solidFill>
              </a:defRPr>
            </a:lvl1pPr>
            <a:lvl2pPr marL="914400" lvl="1" indent="-228600" algn="l">
              <a:spcBef>
                <a:spcPts val="1000"/>
              </a:spcBef>
              <a:spcAft>
                <a:spcPts val="0"/>
              </a:spcAft>
              <a:buSzPts val="2000"/>
              <a:buNone/>
              <a:defRPr/>
            </a:lvl2pPr>
            <a:lvl3pPr marL="1371600" lvl="2" indent="-228600" algn="l">
              <a:spcBef>
                <a:spcPts val="500"/>
              </a:spcBef>
              <a:spcAft>
                <a:spcPts val="0"/>
              </a:spcAft>
              <a:buSzPts val="2000"/>
              <a:buFont typeface="Arial"/>
              <a:buNone/>
              <a:defRPr/>
            </a:lvl3pPr>
            <a:lvl4pPr marL="1828800" lvl="3" indent="-228600" algn="l">
              <a:spcBef>
                <a:spcPts val="500"/>
              </a:spcBef>
              <a:spcAft>
                <a:spcPts val="0"/>
              </a:spcAft>
              <a:buSzPts val="2000"/>
              <a:buNone/>
              <a:defRPr/>
            </a:lvl4pPr>
            <a:lvl5pPr marL="2286000" lvl="4" indent="-228600" algn="l">
              <a:spcBef>
                <a:spcPts val="500"/>
              </a:spcBef>
              <a:spcAft>
                <a:spcPts val="0"/>
              </a:spcAft>
              <a:buSzPts val="2000"/>
              <a:buFont typeface="Arial"/>
              <a:buNone/>
              <a:defRPr/>
            </a:lvl5pPr>
            <a:lvl6pPr marL="2743200" lvl="5" indent="-342900" algn="l"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6" name="Google Shape;46;p32"/>
          <p:cNvSpPr txBox="1">
            <a:spLocks noGrp="1"/>
          </p:cNvSpPr>
          <p:nvPr>
            <p:ph type="body" idx="7"/>
          </p:nvPr>
        </p:nvSpPr>
        <p:spPr>
          <a:xfrm>
            <a:off x="8490136" y="3448003"/>
            <a:ext cx="1828800" cy="38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1pPr>
            <a:lvl2pPr marL="914400" lvl="1" indent="-228600" algn="l">
              <a:spcBef>
                <a:spcPts val="250"/>
              </a:spcBef>
              <a:spcAft>
                <a:spcPts val="0"/>
              </a:spcAft>
              <a:buSzPts val="1000"/>
              <a:buNone/>
              <a:defRPr sz="1000"/>
            </a:lvl2pPr>
            <a:lvl3pPr marL="1371600" lvl="2" indent="-228600" algn="l">
              <a:spcBef>
                <a:spcPts val="250"/>
              </a:spcBef>
              <a:spcAft>
                <a:spcPts val="0"/>
              </a:spcAft>
              <a:buSzPts val="1000"/>
              <a:buFont typeface="Arial"/>
              <a:buNone/>
              <a:defRPr sz="1000"/>
            </a:lvl3pPr>
            <a:lvl4pPr marL="1828800" lvl="3" indent="-228600" algn="l">
              <a:spcBef>
                <a:spcPts val="250"/>
              </a:spcBef>
              <a:spcAft>
                <a:spcPts val="0"/>
              </a:spcAft>
              <a:buSzPts val="1000"/>
              <a:buNone/>
              <a:defRPr sz="1000"/>
            </a:lvl4pPr>
            <a:lvl5pPr marL="2286000" lvl="4" indent="-228600" algn="l">
              <a:spcBef>
                <a:spcPts val="250"/>
              </a:spcBef>
              <a:spcAft>
                <a:spcPts val="0"/>
              </a:spcAft>
              <a:buSzPts val="1000"/>
              <a:buFont typeface="Arial"/>
              <a:buNone/>
              <a:defRPr sz="1000"/>
            </a:lvl5pPr>
            <a:lvl6pPr marL="2743200" lvl="5" indent="-342900" algn="l">
              <a:spcBef>
                <a:spcPts val="25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7" name="Google Shape;47;p32"/>
          <p:cNvSpPr txBox="1">
            <a:spLocks noGrp="1"/>
          </p:cNvSpPr>
          <p:nvPr>
            <p:ph type="body" idx="8"/>
          </p:nvPr>
        </p:nvSpPr>
        <p:spPr>
          <a:xfrm>
            <a:off x="6324600" y="4081669"/>
            <a:ext cx="1828800" cy="81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solidFill>
                  <a:schemeClr val="accent1"/>
                </a:solidFill>
              </a:defRPr>
            </a:lvl1pPr>
            <a:lvl2pPr marL="914400" lvl="1" indent="-228600" algn="l">
              <a:spcBef>
                <a:spcPts val="1000"/>
              </a:spcBef>
              <a:spcAft>
                <a:spcPts val="0"/>
              </a:spcAft>
              <a:buSzPts val="2000"/>
              <a:buNone/>
              <a:defRPr/>
            </a:lvl2pPr>
            <a:lvl3pPr marL="1371600" lvl="2" indent="-228600" algn="l">
              <a:spcBef>
                <a:spcPts val="500"/>
              </a:spcBef>
              <a:spcAft>
                <a:spcPts val="0"/>
              </a:spcAft>
              <a:buSzPts val="2000"/>
              <a:buFont typeface="Arial"/>
              <a:buNone/>
              <a:defRPr/>
            </a:lvl3pPr>
            <a:lvl4pPr marL="1828800" lvl="3" indent="-228600" algn="l">
              <a:spcBef>
                <a:spcPts val="500"/>
              </a:spcBef>
              <a:spcAft>
                <a:spcPts val="0"/>
              </a:spcAft>
              <a:buSzPts val="2000"/>
              <a:buNone/>
              <a:defRPr/>
            </a:lvl4pPr>
            <a:lvl5pPr marL="2286000" lvl="4" indent="-228600" algn="l">
              <a:spcBef>
                <a:spcPts val="500"/>
              </a:spcBef>
              <a:spcAft>
                <a:spcPts val="0"/>
              </a:spcAft>
              <a:buSzPts val="2000"/>
              <a:buFont typeface="Arial"/>
              <a:buNone/>
              <a:defRPr/>
            </a:lvl5pPr>
            <a:lvl6pPr marL="2743200" lvl="5" indent="-342900" algn="l"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" name="Google Shape;48;p32"/>
          <p:cNvSpPr txBox="1">
            <a:spLocks noGrp="1"/>
          </p:cNvSpPr>
          <p:nvPr>
            <p:ph type="body" idx="9"/>
          </p:nvPr>
        </p:nvSpPr>
        <p:spPr>
          <a:xfrm>
            <a:off x="6324600" y="5166253"/>
            <a:ext cx="1828800" cy="38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1pPr>
            <a:lvl2pPr marL="914400" lvl="1" indent="-228600" algn="l">
              <a:spcBef>
                <a:spcPts val="250"/>
              </a:spcBef>
              <a:spcAft>
                <a:spcPts val="0"/>
              </a:spcAft>
              <a:buSzPts val="1000"/>
              <a:buNone/>
              <a:defRPr sz="1000"/>
            </a:lvl2pPr>
            <a:lvl3pPr marL="1371600" lvl="2" indent="-228600" algn="l">
              <a:spcBef>
                <a:spcPts val="250"/>
              </a:spcBef>
              <a:spcAft>
                <a:spcPts val="0"/>
              </a:spcAft>
              <a:buSzPts val="1000"/>
              <a:buFont typeface="Arial"/>
              <a:buNone/>
              <a:defRPr sz="1000"/>
            </a:lvl3pPr>
            <a:lvl4pPr marL="1828800" lvl="3" indent="-228600" algn="l">
              <a:spcBef>
                <a:spcPts val="250"/>
              </a:spcBef>
              <a:spcAft>
                <a:spcPts val="0"/>
              </a:spcAft>
              <a:buSzPts val="1000"/>
              <a:buNone/>
              <a:defRPr sz="1000"/>
            </a:lvl4pPr>
            <a:lvl5pPr marL="2286000" lvl="4" indent="-228600" algn="l">
              <a:spcBef>
                <a:spcPts val="250"/>
              </a:spcBef>
              <a:spcAft>
                <a:spcPts val="0"/>
              </a:spcAft>
              <a:buSzPts val="1000"/>
              <a:buFont typeface="Arial"/>
              <a:buNone/>
              <a:defRPr sz="1000"/>
            </a:lvl5pPr>
            <a:lvl6pPr marL="2743200" lvl="5" indent="-342900" algn="l">
              <a:spcBef>
                <a:spcPts val="25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" name="Google Shape;49;p32"/>
          <p:cNvSpPr txBox="1">
            <a:spLocks noGrp="1"/>
          </p:cNvSpPr>
          <p:nvPr>
            <p:ph type="body" idx="13"/>
          </p:nvPr>
        </p:nvSpPr>
        <p:spPr>
          <a:xfrm>
            <a:off x="8490136" y="4081669"/>
            <a:ext cx="1828800" cy="81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solidFill>
                  <a:srgbClr val="0B71FF"/>
                </a:solidFill>
              </a:defRPr>
            </a:lvl1pPr>
            <a:lvl2pPr marL="914400" lvl="1" indent="-228600" algn="l">
              <a:spcBef>
                <a:spcPts val="1000"/>
              </a:spcBef>
              <a:spcAft>
                <a:spcPts val="0"/>
              </a:spcAft>
              <a:buSzPts val="2000"/>
              <a:buNone/>
              <a:defRPr/>
            </a:lvl2pPr>
            <a:lvl3pPr marL="1371600" lvl="2" indent="-228600" algn="l">
              <a:spcBef>
                <a:spcPts val="500"/>
              </a:spcBef>
              <a:spcAft>
                <a:spcPts val="0"/>
              </a:spcAft>
              <a:buSzPts val="2000"/>
              <a:buFont typeface="Arial"/>
              <a:buNone/>
              <a:defRPr/>
            </a:lvl3pPr>
            <a:lvl4pPr marL="1828800" lvl="3" indent="-228600" algn="l">
              <a:spcBef>
                <a:spcPts val="500"/>
              </a:spcBef>
              <a:spcAft>
                <a:spcPts val="0"/>
              </a:spcAft>
              <a:buSzPts val="2000"/>
              <a:buNone/>
              <a:defRPr/>
            </a:lvl4pPr>
            <a:lvl5pPr marL="2286000" lvl="4" indent="-228600" algn="l">
              <a:spcBef>
                <a:spcPts val="500"/>
              </a:spcBef>
              <a:spcAft>
                <a:spcPts val="0"/>
              </a:spcAft>
              <a:buSzPts val="2000"/>
              <a:buFont typeface="Arial"/>
              <a:buNone/>
              <a:defRPr/>
            </a:lvl5pPr>
            <a:lvl6pPr marL="2743200" lvl="5" indent="-342900" algn="l"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" name="Google Shape;50;p32"/>
          <p:cNvSpPr txBox="1">
            <a:spLocks noGrp="1"/>
          </p:cNvSpPr>
          <p:nvPr>
            <p:ph type="body" idx="14"/>
          </p:nvPr>
        </p:nvSpPr>
        <p:spPr>
          <a:xfrm>
            <a:off x="8490136" y="5167472"/>
            <a:ext cx="1828800" cy="38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1pPr>
            <a:lvl2pPr marL="914400" lvl="1" indent="-228600" algn="l">
              <a:spcBef>
                <a:spcPts val="250"/>
              </a:spcBef>
              <a:spcAft>
                <a:spcPts val="0"/>
              </a:spcAft>
              <a:buSzPts val="1000"/>
              <a:buNone/>
              <a:defRPr sz="1000"/>
            </a:lvl2pPr>
            <a:lvl3pPr marL="1371600" lvl="2" indent="-228600" algn="l">
              <a:spcBef>
                <a:spcPts val="250"/>
              </a:spcBef>
              <a:spcAft>
                <a:spcPts val="0"/>
              </a:spcAft>
              <a:buSzPts val="1000"/>
              <a:buFont typeface="Arial"/>
              <a:buNone/>
              <a:defRPr sz="1000"/>
            </a:lvl3pPr>
            <a:lvl4pPr marL="1828800" lvl="3" indent="-228600" algn="l">
              <a:spcBef>
                <a:spcPts val="250"/>
              </a:spcBef>
              <a:spcAft>
                <a:spcPts val="0"/>
              </a:spcAft>
              <a:buSzPts val="1000"/>
              <a:buNone/>
              <a:defRPr sz="1000"/>
            </a:lvl4pPr>
            <a:lvl5pPr marL="2286000" lvl="4" indent="-228600" algn="l">
              <a:spcBef>
                <a:spcPts val="250"/>
              </a:spcBef>
              <a:spcAft>
                <a:spcPts val="0"/>
              </a:spcAft>
              <a:buSzPts val="1000"/>
              <a:buFont typeface="Arial"/>
              <a:buNone/>
              <a:defRPr sz="1000"/>
            </a:lvl5pPr>
            <a:lvl6pPr marL="2743200" lvl="5" indent="-342900" algn="l">
              <a:spcBef>
                <a:spcPts val="25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" name="Google Shape;51;p32"/>
          <p:cNvSpPr/>
          <p:nvPr/>
        </p:nvSpPr>
        <p:spPr>
          <a:xfrm>
            <a:off x="5269902" y="4652394"/>
            <a:ext cx="381526" cy="184801"/>
          </a:xfrm>
          <a:custGeom>
            <a:avLst/>
            <a:gdLst/>
            <a:ahLst/>
            <a:cxnLst/>
            <a:rect l="l" t="t" r="r" b="b"/>
            <a:pathLst>
              <a:path w="381526" h="184801" extrusionOk="0">
                <a:moveTo>
                  <a:pt x="377155" y="81851"/>
                </a:moveTo>
                <a:cubicBezTo>
                  <a:pt x="377150" y="81847"/>
                  <a:pt x="377147" y="81842"/>
                  <a:pt x="377141" y="81837"/>
                </a:cubicBezTo>
                <a:lnTo>
                  <a:pt x="299268" y="4340"/>
                </a:lnTo>
                <a:cubicBezTo>
                  <a:pt x="293434" y="-1466"/>
                  <a:pt x="283998" y="-1444"/>
                  <a:pt x="278191" y="4390"/>
                </a:cubicBezTo>
                <a:cubicBezTo>
                  <a:pt x="272385" y="10224"/>
                  <a:pt x="272407" y="19660"/>
                  <a:pt x="278241" y="25467"/>
                </a:cubicBezTo>
                <a:lnTo>
                  <a:pt x="330525" y="77497"/>
                </a:lnTo>
                <a:lnTo>
                  <a:pt x="14903" y="77497"/>
                </a:lnTo>
                <a:cubicBezTo>
                  <a:pt x="6672" y="77497"/>
                  <a:pt x="0" y="84170"/>
                  <a:pt x="0" y="92401"/>
                </a:cubicBezTo>
                <a:cubicBezTo>
                  <a:pt x="0" y="100632"/>
                  <a:pt x="6672" y="107304"/>
                  <a:pt x="14903" y="107304"/>
                </a:cubicBezTo>
                <a:lnTo>
                  <a:pt x="330524" y="107304"/>
                </a:lnTo>
                <a:lnTo>
                  <a:pt x="278242" y="159335"/>
                </a:lnTo>
                <a:cubicBezTo>
                  <a:pt x="272408" y="165141"/>
                  <a:pt x="272386" y="174577"/>
                  <a:pt x="278192" y="180411"/>
                </a:cubicBezTo>
                <a:cubicBezTo>
                  <a:pt x="283999" y="186246"/>
                  <a:pt x="293436" y="186267"/>
                  <a:pt x="299269" y="180462"/>
                </a:cubicBezTo>
                <a:lnTo>
                  <a:pt x="377142" y="102964"/>
                </a:lnTo>
                <a:cubicBezTo>
                  <a:pt x="377147" y="102960"/>
                  <a:pt x="377150" y="102955"/>
                  <a:pt x="377156" y="102950"/>
                </a:cubicBezTo>
                <a:cubicBezTo>
                  <a:pt x="382993" y="97124"/>
                  <a:pt x="382974" y="87658"/>
                  <a:pt x="377155" y="81851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0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" name="Google Shape;40;p32">
            <a:extLst>
              <a:ext uri="{FF2B5EF4-FFF2-40B4-BE49-F238E27FC236}">
                <a16:creationId xmlns:a16="http://schemas.microsoft.com/office/drawing/2014/main" id="{D5109B4E-FC20-EAB5-9CE9-9B8426265F80}"/>
              </a:ext>
            </a:extLst>
          </p:cNvPr>
          <p:cNvSpPr txBox="1"/>
          <p:nvPr userDrawn="1"/>
        </p:nvSpPr>
        <p:spPr>
          <a:xfrm>
            <a:off x="516835" y="6334236"/>
            <a:ext cx="3550340" cy="2974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None/>
            </a:pPr>
            <a:r>
              <a:rPr lang="ru-RU" sz="12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ЗоРРО</a:t>
            </a:r>
            <a:r>
              <a:rPr lang="ru-RU" sz="1200" b="1" i="0" u="none" strike="noStrike" cap="none" baseline="30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®</a:t>
            </a:r>
            <a:r>
              <a:rPr lang="de-CH" sz="1200" b="1" i="0" u="none" strike="noStrike" cap="none" baseline="30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2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024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| Internal Use Only</a:t>
            </a:r>
            <a:endParaRPr b="0" dirty="0"/>
          </a:p>
        </p:txBody>
      </p:sp>
      <p:pic>
        <p:nvPicPr>
          <p:cNvPr id="3" name="Google Shape;53;p32">
            <a:extLst>
              <a:ext uri="{FF2B5EF4-FFF2-40B4-BE49-F238E27FC236}">
                <a16:creationId xmlns:a16="http://schemas.microsoft.com/office/drawing/2014/main" id="{745233C6-153A-F000-1952-A2B05AA14FA4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0566400" y="6399249"/>
            <a:ext cx="1205930" cy="16552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4" name="Google Shape;54;p32">
            <a:extLst>
              <a:ext uri="{FF2B5EF4-FFF2-40B4-BE49-F238E27FC236}">
                <a16:creationId xmlns:a16="http://schemas.microsoft.com/office/drawing/2014/main" id="{209E86BD-0954-2DDA-57A1-7DA4A3BEB03A}"/>
              </a:ext>
            </a:extLst>
          </p:cNvPr>
          <p:cNvCxnSpPr>
            <a:cxnSpLocks/>
          </p:cNvCxnSpPr>
          <p:nvPr userDrawn="1"/>
        </p:nvCxnSpPr>
        <p:spPr>
          <a:xfrm>
            <a:off x="3743325" y="6492239"/>
            <a:ext cx="6630035" cy="0"/>
          </a:xfrm>
          <a:prstGeom prst="straightConnector1">
            <a:avLst/>
          </a:prstGeom>
          <a:solidFill>
            <a:schemeClr val="accent2"/>
          </a:solidFill>
          <a:ln w="19050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25EF8C89-CCFD-AAB0-85D3-9A760744A60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42926" y="397563"/>
            <a:ext cx="1573333" cy="418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885907"/>
      </p:ext>
    </p:extLst>
  </p:cSld>
  <p:clrMapOvr>
    <a:masterClrMapping/>
  </p:clrMapOvr>
  <p:transition>
    <p:wipe dir="r"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+ Graphic" preserve="1">
  <p:cSld name="Content + Graphic"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Google Shape;56;p33"/>
          <p:cNvSpPr/>
          <p:nvPr/>
        </p:nvSpPr>
        <p:spPr>
          <a:xfrm>
            <a:off x="0" y="0"/>
            <a:ext cx="12192000" cy="5869172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" name="Google Shape;57;p33"/>
          <p:cNvSpPr txBox="1">
            <a:spLocks noGrp="1"/>
          </p:cNvSpPr>
          <p:nvPr>
            <p:ph type="title"/>
          </p:nvPr>
        </p:nvSpPr>
        <p:spPr>
          <a:xfrm>
            <a:off x="542926" y="1427277"/>
            <a:ext cx="5553074" cy="19057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200">
                <a:solidFill>
                  <a:schemeClr val="accent1"/>
                </a:solidFill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" name="Google Shape;58;p33"/>
          <p:cNvSpPr txBox="1">
            <a:spLocks noGrp="1"/>
          </p:cNvSpPr>
          <p:nvPr>
            <p:ph type="sldNum" idx="12"/>
          </p:nvPr>
        </p:nvSpPr>
        <p:spPr>
          <a:xfrm>
            <a:off x="10512506" y="375991"/>
            <a:ext cx="1259824" cy="20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59" name="Google Shape;59;p33"/>
          <p:cNvSpPr txBox="1">
            <a:spLocks noGrp="1"/>
          </p:cNvSpPr>
          <p:nvPr>
            <p:ph type="body" idx="1"/>
          </p:nvPr>
        </p:nvSpPr>
        <p:spPr>
          <a:xfrm>
            <a:off x="542925" y="3587003"/>
            <a:ext cx="5553074" cy="121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1pPr>
            <a:lvl2pPr marL="914400" lvl="1" indent="-228600" algn="l">
              <a:spcBef>
                <a:spcPts val="450"/>
              </a:spcBef>
              <a:spcAft>
                <a:spcPts val="0"/>
              </a:spcAft>
              <a:buSzPts val="1800"/>
              <a:buNone/>
              <a:defRPr sz="1800"/>
            </a:lvl2pPr>
            <a:lvl3pPr marL="1371600" lvl="2" indent="-228600" algn="l">
              <a:spcBef>
                <a:spcPts val="450"/>
              </a:spcBef>
              <a:spcAft>
                <a:spcPts val="0"/>
              </a:spcAft>
              <a:buSzPts val="1800"/>
              <a:buFont typeface="Arial"/>
              <a:buNone/>
              <a:defRPr sz="1800"/>
            </a:lvl3pPr>
            <a:lvl4pPr marL="1828800" lvl="3" indent="-228600" algn="l">
              <a:spcBef>
                <a:spcPts val="450"/>
              </a:spcBef>
              <a:spcAft>
                <a:spcPts val="0"/>
              </a:spcAft>
              <a:buSzPts val="1800"/>
              <a:buNone/>
              <a:defRPr sz="1800"/>
            </a:lvl4pPr>
            <a:lvl5pPr marL="2286000" lvl="4" indent="-228600" algn="l">
              <a:spcBef>
                <a:spcPts val="450"/>
              </a:spcBef>
              <a:spcAft>
                <a:spcPts val="0"/>
              </a:spcAft>
              <a:buSzPts val="1800"/>
              <a:buFont typeface="Arial"/>
              <a:buNone/>
              <a:defRPr sz="1800"/>
            </a:lvl5pPr>
            <a:lvl6pPr marL="2743200" lvl="5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 dirty="0"/>
          </a:p>
        </p:txBody>
      </p:sp>
      <p:sp>
        <p:nvSpPr>
          <p:cNvPr id="2" name="Google Shape;40;p32">
            <a:extLst>
              <a:ext uri="{FF2B5EF4-FFF2-40B4-BE49-F238E27FC236}">
                <a16:creationId xmlns:a16="http://schemas.microsoft.com/office/drawing/2014/main" id="{F73C6CAD-54DA-36EE-1073-02CF51FE41F3}"/>
              </a:ext>
            </a:extLst>
          </p:cNvPr>
          <p:cNvSpPr txBox="1"/>
          <p:nvPr userDrawn="1"/>
        </p:nvSpPr>
        <p:spPr>
          <a:xfrm>
            <a:off x="516835" y="6334236"/>
            <a:ext cx="3550340" cy="2974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None/>
            </a:pPr>
            <a:r>
              <a:rPr lang="ru-RU" sz="12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ЗоРРО</a:t>
            </a:r>
            <a:r>
              <a:rPr lang="ru-RU" sz="1200" b="1" i="0" u="none" strike="noStrike" cap="none" baseline="30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® </a:t>
            </a:r>
            <a:r>
              <a:rPr lang="de-CH" sz="1200" b="1" i="0" u="none" strike="noStrike" cap="none" baseline="30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2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024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| Internal Use Only</a:t>
            </a:r>
            <a:endParaRPr b="0" dirty="0"/>
          </a:p>
        </p:txBody>
      </p:sp>
      <p:pic>
        <p:nvPicPr>
          <p:cNvPr id="3" name="Google Shape;53;p32">
            <a:extLst>
              <a:ext uri="{FF2B5EF4-FFF2-40B4-BE49-F238E27FC236}">
                <a16:creationId xmlns:a16="http://schemas.microsoft.com/office/drawing/2014/main" id="{7003994D-2D03-F818-9B08-ADC51678534C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0566400" y="6399249"/>
            <a:ext cx="1205930" cy="16552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4" name="Google Shape;54;p32">
            <a:extLst>
              <a:ext uri="{FF2B5EF4-FFF2-40B4-BE49-F238E27FC236}">
                <a16:creationId xmlns:a16="http://schemas.microsoft.com/office/drawing/2014/main" id="{9675AF23-B5AA-79C1-E967-56D031DF9154}"/>
              </a:ext>
            </a:extLst>
          </p:cNvPr>
          <p:cNvCxnSpPr>
            <a:cxnSpLocks/>
          </p:cNvCxnSpPr>
          <p:nvPr userDrawn="1"/>
        </p:nvCxnSpPr>
        <p:spPr>
          <a:xfrm>
            <a:off x="3743325" y="6492239"/>
            <a:ext cx="6630035" cy="0"/>
          </a:xfrm>
          <a:prstGeom prst="straightConnector1">
            <a:avLst/>
          </a:prstGeom>
          <a:solidFill>
            <a:schemeClr val="accent2"/>
          </a:solidFill>
          <a:ln w="19050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AC976FAF-255E-0F11-82BE-EBBE4C91D1C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42926" y="397563"/>
            <a:ext cx="1573333" cy="418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8851821"/>
      </p:ext>
    </p:extLst>
  </p:cSld>
  <p:clrMapOvr>
    <a:masterClrMapping/>
  </p:clrMapOvr>
  <p:transition>
    <p:wipe dir="r"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+ Graphic B" preserve="1">
  <p:cSld name="Content + Graphic B"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p34"/>
          <p:cNvSpPr txBox="1">
            <a:spLocks noGrp="1"/>
          </p:cNvSpPr>
          <p:nvPr>
            <p:ph type="title"/>
          </p:nvPr>
        </p:nvSpPr>
        <p:spPr>
          <a:xfrm>
            <a:off x="542926" y="3429000"/>
            <a:ext cx="5553075" cy="13893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200">
                <a:solidFill>
                  <a:schemeClr val="accent1"/>
                </a:solidFill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" name="Google Shape;66;p34"/>
          <p:cNvSpPr txBox="1">
            <a:spLocks noGrp="1"/>
          </p:cNvSpPr>
          <p:nvPr>
            <p:ph type="sldNum" idx="12"/>
          </p:nvPr>
        </p:nvSpPr>
        <p:spPr>
          <a:xfrm>
            <a:off x="10512506" y="375991"/>
            <a:ext cx="1259824" cy="20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67" name="Google Shape;67;p34"/>
          <p:cNvSpPr txBox="1">
            <a:spLocks noGrp="1"/>
          </p:cNvSpPr>
          <p:nvPr>
            <p:ph type="body" idx="1"/>
          </p:nvPr>
        </p:nvSpPr>
        <p:spPr>
          <a:xfrm>
            <a:off x="542925" y="5165942"/>
            <a:ext cx="5553075" cy="10667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1pPr>
            <a:lvl2pPr marL="914400" lvl="1" indent="-228600" algn="l">
              <a:lnSpc>
                <a:spcPct val="100000"/>
              </a:lnSpc>
              <a:spcBef>
                <a:spcPts val="275"/>
              </a:spcBef>
              <a:spcAft>
                <a:spcPts val="0"/>
              </a:spcAft>
              <a:buSzPts val="1100"/>
              <a:buNone/>
              <a:defRPr sz="1100"/>
            </a:lvl2pPr>
            <a:lvl3pPr marL="1371600" lvl="2" indent="-228600" algn="l">
              <a:lnSpc>
                <a:spcPct val="100000"/>
              </a:lnSpc>
              <a:spcBef>
                <a:spcPts val="275"/>
              </a:spcBef>
              <a:spcAft>
                <a:spcPts val="0"/>
              </a:spcAft>
              <a:buSzPts val="1100"/>
              <a:buFont typeface="Arial"/>
              <a:buNone/>
              <a:defRPr sz="1100"/>
            </a:lvl3pPr>
            <a:lvl4pPr marL="1828800" lvl="3" indent="-228600" algn="l">
              <a:lnSpc>
                <a:spcPct val="100000"/>
              </a:lnSpc>
              <a:spcBef>
                <a:spcPts val="275"/>
              </a:spcBef>
              <a:spcAft>
                <a:spcPts val="0"/>
              </a:spcAft>
              <a:buSzPts val="1100"/>
              <a:buNone/>
              <a:defRPr sz="1100"/>
            </a:lvl4pPr>
            <a:lvl5pPr marL="2286000" lvl="4" indent="-228600" algn="l">
              <a:lnSpc>
                <a:spcPct val="100000"/>
              </a:lnSpc>
              <a:spcBef>
                <a:spcPts val="275"/>
              </a:spcBef>
              <a:spcAft>
                <a:spcPts val="0"/>
              </a:spcAft>
              <a:buSzPts val="1100"/>
              <a:buFont typeface="Arial"/>
              <a:buNone/>
              <a:defRPr sz="1100"/>
            </a:lvl5pPr>
            <a:lvl6pPr marL="2743200" lvl="5" indent="-342900" algn="l">
              <a:spcBef>
                <a:spcPts val="275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" name="Google Shape;70;p34"/>
          <p:cNvSpPr txBox="1">
            <a:spLocks noGrp="1"/>
          </p:cNvSpPr>
          <p:nvPr>
            <p:ph type="body" idx="2"/>
          </p:nvPr>
        </p:nvSpPr>
        <p:spPr>
          <a:xfrm>
            <a:off x="542926" y="3060354"/>
            <a:ext cx="5553074" cy="2904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lt2"/>
                </a:solidFill>
              </a:defRPr>
            </a:lvl1pPr>
            <a:lvl2pPr marL="914400" lvl="1" indent="-228600" algn="l">
              <a:spcBef>
                <a:spcPts val="30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lt2"/>
                </a:solidFill>
              </a:defRPr>
            </a:lvl2pPr>
            <a:lvl3pPr marL="1371600" lvl="2" indent="-228600" algn="l">
              <a:spcBef>
                <a:spcPts val="300"/>
              </a:spcBef>
              <a:spcAft>
                <a:spcPts val="0"/>
              </a:spcAft>
              <a:buSzPts val="1200"/>
              <a:buFont typeface="Arial"/>
              <a:buNone/>
              <a:defRPr sz="1200" b="0">
                <a:solidFill>
                  <a:schemeClr val="lt2"/>
                </a:solidFill>
              </a:defRPr>
            </a:lvl3pPr>
            <a:lvl4pPr marL="1828800" lvl="3" indent="-228600" algn="l">
              <a:spcBef>
                <a:spcPts val="30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lt2"/>
                </a:solidFill>
              </a:defRPr>
            </a:lvl4pPr>
            <a:lvl5pPr marL="2286000" lvl="4" indent="-228600" algn="l">
              <a:spcBef>
                <a:spcPts val="300"/>
              </a:spcBef>
              <a:spcAft>
                <a:spcPts val="0"/>
              </a:spcAft>
              <a:buSzPts val="1200"/>
              <a:buFont typeface="Arial"/>
              <a:buNone/>
              <a:defRPr sz="1200" b="0">
                <a:solidFill>
                  <a:schemeClr val="lt2"/>
                </a:solidFill>
              </a:defRPr>
            </a:lvl5pPr>
            <a:lvl6pPr marL="2743200" lvl="5" indent="-342900" algn="l">
              <a:spcBef>
                <a:spcPts val="3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" name="Google Shape;71;p34"/>
          <p:cNvSpPr/>
          <p:nvPr/>
        </p:nvSpPr>
        <p:spPr>
          <a:xfrm>
            <a:off x="542925" y="4957849"/>
            <a:ext cx="448118" cy="72504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" name="Google Shape;40;p32">
            <a:extLst>
              <a:ext uri="{FF2B5EF4-FFF2-40B4-BE49-F238E27FC236}">
                <a16:creationId xmlns:a16="http://schemas.microsoft.com/office/drawing/2014/main" id="{DD395B28-5F8D-DAF0-0B1D-A06895582515}"/>
              </a:ext>
            </a:extLst>
          </p:cNvPr>
          <p:cNvSpPr txBox="1"/>
          <p:nvPr userDrawn="1"/>
        </p:nvSpPr>
        <p:spPr>
          <a:xfrm>
            <a:off x="516835" y="6334236"/>
            <a:ext cx="3550340" cy="2974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None/>
            </a:pPr>
            <a:r>
              <a:rPr lang="ru-RU" sz="12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ЗоРРО</a:t>
            </a:r>
            <a:r>
              <a:rPr lang="ru-RU" sz="1200" b="1" i="0" u="none" strike="noStrike" cap="none" baseline="30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® </a:t>
            </a:r>
            <a:r>
              <a:rPr lang="de-CH" sz="1200" b="1" i="0" u="none" strike="noStrike" cap="none" baseline="30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2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024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| Internal Use Only</a:t>
            </a:r>
            <a:endParaRPr b="0" dirty="0"/>
          </a:p>
        </p:txBody>
      </p:sp>
      <p:pic>
        <p:nvPicPr>
          <p:cNvPr id="3" name="Google Shape;53;p32">
            <a:extLst>
              <a:ext uri="{FF2B5EF4-FFF2-40B4-BE49-F238E27FC236}">
                <a16:creationId xmlns:a16="http://schemas.microsoft.com/office/drawing/2014/main" id="{1B57FA14-A2BA-EEDE-923C-AD26BD378CA0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0566400" y="6399249"/>
            <a:ext cx="1205930" cy="16552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4" name="Google Shape;54;p32">
            <a:extLst>
              <a:ext uri="{FF2B5EF4-FFF2-40B4-BE49-F238E27FC236}">
                <a16:creationId xmlns:a16="http://schemas.microsoft.com/office/drawing/2014/main" id="{56449427-6812-AEB5-5068-A1456FE36672}"/>
              </a:ext>
            </a:extLst>
          </p:cNvPr>
          <p:cNvCxnSpPr>
            <a:cxnSpLocks/>
          </p:cNvCxnSpPr>
          <p:nvPr userDrawn="1"/>
        </p:nvCxnSpPr>
        <p:spPr>
          <a:xfrm>
            <a:off x="3743325" y="6492239"/>
            <a:ext cx="6630035" cy="0"/>
          </a:xfrm>
          <a:prstGeom prst="straightConnector1">
            <a:avLst/>
          </a:prstGeom>
          <a:solidFill>
            <a:schemeClr val="accent2"/>
          </a:solidFill>
          <a:ln w="19050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E6014B09-13F4-7827-DA0B-1FBE70DFBE8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42926" y="397563"/>
            <a:ext cx="1573333" cy="418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4128339"/>
      </p:ext>
    </p:extLst>
  </p:cSld>
  <p:clrMapOvr>
    <a:masterClrMapping/>
  </p:clrMapOvr>
  <p:transition>
    <p:wipe dir="r"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. Cover_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outdoor, track, grass, train&#10;&#10;Description automatically generated">
            <a:extLst>
              <a:ext uri="{FF2B5EF4-FFF2-40B4-BE49-F238E27FC236}">
                <a16:creationId xmlns:a16="http://schemas.microsoft.com/office/drawing/2014/main" id="{6BB0D591-6BB3-4A3F-BE63-7E86274E8F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>
          <a:xfrm>
            <a:off x="5689344" y="308976"/>
            <a:ext cx="6197854" cy="624004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8EAEEFA-ECE7-4BC4-8602-E9873380B4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1833926"/>
            <a:ext cx="4562856" cy="1234440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/>
              <a:t>Tit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9331859-061F-4FAF-8C7C-00A07BA52B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04800" y="6305406"/>
            <a:ext cx="4114800" cy="243618"/>
          </a:xfrm>
        </p:spPr>
        <p:txBody>
          <a:bodyPr/>
          <a:lstStyle>
            <a:lvl1pPr algn="l">
              <a:defRPr/>
            </a:lvl1pPr>
          </a:lstStyle>
          <a:p>
            <a:pPr algn="l"/>
            <a:r>
              <a:rPr lang="en-GB"/>
              <a:t>CLASSIFICATION: Internal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71D1E8-96EC-4327-84D7-EE219D5AB9C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219C47F3-E74D-462A-9E9A-E7164C68AF7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C98747EC-11C2-486D-A172-D2A3DA7C322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1"/>
            <a:ext cx="2839184" cy="1231496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0881F4D-935B-47DB-86E8-8DDD545626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3241040"/>
            <a:ext cx="4562475" cy="1261872"/>
          </a:xfrm>
        </p:spPr>
        <p:txBody>
          <a:bodyPr/>
          <a:lstStyle>
            <a:lvl1pPr>
              <a:defRPr sz="2800"/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US"/>
              <a:t>Subtitle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2CF140B-D995-4687-8C29-3E77359795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5024074"/>
            <a:ext cx="4562475" cy="2743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Date</a:t>
            </a:r>
            <a:endParaRPr lang="en-GB"/>
          </a:p>
        </p:txBody>
      </p:sp>
      <p:grpSp>
        <p:nvGrpSpPr>
          <p:cNvPr id="150" name="Group 149">
            <a:extLst>
              <a:ext uri="{FF2B5EF4-FFF2-40B4-BE49-F238E27FC236}">
                <a16:creationId xmlns:a16="http://schemas.microsoft.com/office/drawing/2014/main" id="{4147914C-5B6A-48CA-9B64-341B5C1C60FC}"/>
              </a:ext>
            </a:extLst>
          </p:cNvPr>
          <p:cNvGrpSpPr/>
          <p:nvPr userDrawn="1"/>
        </p:nvGrpSpPr>
        <p:grpSpPr>
          <a:xfrm>
            <a:off x="5689344" y="2840172"/>
            <a:ext cx="6197474" cy="3719176"/>
            <a:chOff x="5689724" y="2840172"/>
            <a:chExt cx="6197476" cy="3719177"/>
          </a:xfrm>
        </p:grpSpPr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6C3E4779-4D23-4F9C-A800-B9C5A53D5678}"/>
                </a:ext>
              </a:extLst>
            </p:cNvPr>
            <p:cNvSpPr/>
            <p:nvPr userDrawn="1"/>
          </p:nvSpPr>
          <p:spPr>
            <a:xfrm flipH="1">
              <a:off x="11267539" y="5939688"/>
              <a:ext cx="619661" cy="619661"/>
            </a:xfrm>
            <a:custGeom>
              <a:avLst/>
              <a:gdLst>
                <a:gd name="connsiteX0" fmla="*/ 0 w 342328"/>
                <a:gd name="connsiteY0" fmla="*/ 0 h 342328"/>
                <a:gd name="connsiteX1" fmla="*/ 0 w 342328"/>
                <a:gd name="connsiteY1" fmla="*/ 0 h 342328"/>
                <a:gd name="connsiteX2" fmla="*/ 342329 w 342328"/>
                <a:gd name="connsiteY2" fmla="*/ 342329 h 342328"/>
                <a:gd name="connsiteX3" fmla="*/ 342329 w 342328"/>
                <a:gd name="connsiteY3" fmla="*/ 342329 h 342328"/>
                <a:gd name="connsiteX4" fmla="*/ 0 w 342328"/>
                <a:gd name="connsiteY4" fmla="*/ 0 h 34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28" h="342328">
                  <a:moveTo>
                    <a:pt x="0" y="0"/>
                  </a:moveTo>
                  <a:lnTo>
                    <a:pt x="0" y="0"/>
                  </a:lnTo>
                  <a:cubicBezTo>
                    <a:pt x="189062" y="0"/>
                    <a:pt x="342329" y="153267"/>
                    <a:pt x="342329" y="342329"/>
                  </a:cubicBezTo>
                  <a:lnTo>
                    <a:pt x="342329" y="342329"/>
                  </a:lnTo>
                  <a:cubicBezTo>
                    <a:pt x="153267" y="342329"/>
                    <a:pt x="0" y="189062"/>
                    <a:pt x="0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72801CFB-C5AB-4075-83CE-4A4C4350DA4D}"/>
                </a:ext>
              </a:extLst>
            </p:cNvPr>
            <p:cNvSpPr/>
            <p:nvPr userDrawn="1"/>
          </p:nvSpPr>
          <p:spPr>
            <a:xfrm flipH="1">
              <a:off x="11267539" y="5318992"/>
              <a:ext cx="619661" cy="620696"/>
            </a:xfrm>
            <a:custGeom>
              <a:avLst/>
              <a:gdLst>
                <a:gd name="connsiteX0" fmla="*/ 342329 w 342328"/>
                <a:gd name="connsiteY0" fmla="*/ 0 h 342900"/>
                <a:gd name="connsiteX1" fmla="*/ 342329 w 342328"/>
                <a:gd name="connsiteY1" fmla="*/ 0 h 342900"/>
                <a:gd name="connsiteX2" fmla="*/ 0 w 342328"/>
                <a:gd name="connsiteY2" fmla="*/ 342900 h 342900"/>
                <a:gd name="connsiteX3" fmla="*/ 0 w 342328"/>
                <a:gd name="connsiteY3" fmla="*/ 342900 h 342900"/>
                <a:gd name="connsiteX4" fmla="*/ 342329 w 342328"/>
                <a:gd name="connsiteY4" fmla="*/ 571 h 342900"/>
                <a:gd name="connsiteX5" fmla="*/ 342329 w 342328"/>
                <a:gd name="connsiteY5" fmla="*/ 0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328" h="342900">
                  <a:moveTo>
                    <a:pt x="342329" y="0"/>
                  </a:moveTo>
                  <a:lnTo>
                    <a:pt x="342329" y="0"/>
                  </a:lnTo>
                  <a:cubicBezTo>
                    <a:pt x="153172" y="315"/>
                    <a:pt x="0" y="153743"/>
                    <a:pt x="0" y="342900"/>
                  </a:cubicBezTo>
                  <a:lnTo>
                    <a:pt x="0" y="342900"/>
                  </a:lnTo>
                  <a:cubicBezTo>
                    <a:pt x="189062" y="342900"/>
                    <a:pt x="342329" y="189633"/>
                    <a:pt x="342329" y="571"/>
                  </a:cubicBezTo>
                  <a:cubicBezTo>
                    <a:pt x="342329" y="381"/>
                    <a:pt x="342329" y="191"/>
                    <a:pt x="342329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3" name="Freeform: Shape 152">
              <a:extLst>
                <a:ext uri="{FF2B5EF4-FFF2-40B4-BE49-F238E27FC236}">
                  <a16:creationId xmlns:a16="http://schemas.microsoft.com/office/drawing/2014/main" id="{9B9A48DA-C3D8-4FE6-987F-1996777181BD}"/>
                </a:ext>
              </a:extLst>
            </p:cNvPr>
            <p:cNvSpPr/>
            <p:nvPr userDrawn="1"/>
          </p:nvSpPr>
          <p:spPr>
            <a:xfrm flipH="1">
              <a:off x="10647705" y="5939686"/>
              <a:ext cx="620696" cy="619663"/>
            </a:xfrm>
            <a:custGeom>
              <a:avLst/>
              <a:gdLst>
                <a:gd name="connsiteX0" fmla="*/ 342900 w 342900"/>
                <a:gd name="connsiteY0" fmla="*/ 0 h 342329"/>
                <a:gd name="connsiteX1" fmla="*/ 342900 w 342900"/>
                <a:gd name="connsiteY1" fmla="*/ 0 h 342329"/>
                <a:gd name="connsiteX2" fmla="*/ 0 w 342900"/>
                <a:gd name="connsiteY2" fmla="*/ 341758 h 342329"/>
                <a:gd name="connsiteX3" fmla="*/ 0 w 342900"/>
                <a:gd name="connsiteY3" fmla="*/ 342329 h 342329"/>
                <a:gd name="connsiteX4" fmla="*/ 0 w 342900"/>
                <a:gd name="connsiteY4" fmla="*/ 342329 h 342329"/>
                <a:gd name="connsiteX5" fmla="*/ 342900 w 342900"/>
                <a:gd name="connsiteY5" fmla="*/ 0 h 342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900" h="342329">
                  <a:moveTo>
                    <a:pt x="342900" y="0"/>
                  </a:moveTo>
                  <a:lnTo>
                    <a:pt x="342900" y="0"/>
                  </a:lnTo>
                  <a:cubicBezTo>
                    <a:pt x="153838" y="-314"/>
                    <a:pt x="314" y="152696"/>
                    <a:pt x="0" y="341758"/>
                  </a:cubicBezTo>
                  <a:cubicBezTo>
                    <a:pt x="0" y="341948"/>
                    <a:pt x="0" y="342138"/>
                    <a:pt x="0" y="342329"/>
                  </a:cubicBezTo>
                  <a:lnTo>
                    <a:pt x="0" y="342329"/>
                  </a:lnTo>
                  <a:cubicBezTo>
                    <a:pt x="189157" y="342329"/>
                    <a:pt x="342586" y="189158"/>
                    <a:pt x="342900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4" name="Freeform: Shape 153">
              <a:extLst>
                <a:ext uri="{FF2B5EF4-FFF2-40B4-BE49-F238E27FC236}">
                  <a16:creationId xmlns:a16="http://schemas.microsoft.com/office/drawing/2014/main" id="{22954C3A-3440-442E-B73D-FBFC28436E57}"/>
                </a:ext>
              </a:extLst>
            </p:cNvPr>
            <p:cNvSpPr/>
            <p:nvPr userDrawn="1"/>
          </p:nvSpPr>
          <p:spPr>
            <a:xfrm flipH="1">
              <a:off x="10646843" y="5318992"/>
              <a:ext cx="620696" cy="620696"/>
            </a:xfrm>
            <a:custGeom>
              <a:avLst/>
              <a:gdLst>
                <a:gd name="connsiteX0" fmla="*/ 0 w 342900"/>
                <a:gd name="connsiteY0" fmla="*/ 0 h 342900"/>
                <a:gd name="connsiteX1" fmla="*/ 0 w 342900"/>
                <a:gd name="connsiteY1" fmla="*/ 0 h 342900"/>
                <a:gd name="connsiteX2" fmla="*/ 342900 w 342900"/>
                <a:gd name="connsiteY2" fmla="*/ 342900 h 342900"/>
                <a:gd name="connsiteX3" fmla="*/ 342900 w 342900"/>
                <a:gd name="connsiteY3" fmla="*/ 342900 h 342900"/>
                <a:gd name="connsiteX4" fmla="*/ 0 w 342900"/>
                <a:gd name="connsiteY4" fmla="*/ 1143 h 342900"/>
                <a:gd name="connsiteX5" fmla="*/ 0 w 342900"/>
                <a:gd name="connsiteY5" fmla="*/ 0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900" h="342900">
                  <a:moveTo>
                    <a:pt x="0" y="0"/>
                  </a:moveTo>
                  <a:lnTo>
                    <a:pt x="0" y="0"/>
                  </a:lnTo>
                  <a:cubicBezTo>
                    <a:pt x="189376" y="0"/>
                    <a:pt x="342900" y="153524"/>
                    <a:pt x="342900" y="342900"/>
                  </a:cubicBezTo>
                  <a:lnTo>
                    <a:pt x="342900" y="342900"/>
                  </a:lnTo>
                  <a:cubicBezTo>
                    <a:pt x="153838" y="343215"/>
                    <a:pt x="314" y="190205"/>
                    <a:pt x="0" y="1143"/>
                  </a:cubicBezTo>
                  <a:cubicBezTo>
                    <a:pt x="0" y="762"/>
                    <a:pt x="0" y="381"/>
                    <a:pt x="0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5" name="Freeform: Shape 154">
              <a:extLst>
                <a:ext uri="{FF2B5EF4-FFF2-40B4-BE49-F238E27FC236}">
                  <a16:creationId xmlns:a16="http://schemas.microsoft.com/office/drawing/2014/main" id="{B79B2451-FD6F-4016-96E7-7167B8332FE0}"/>
                </a:ext>
              </a:extLst>
            </p:cNvPr>
            <p:cNvSpPr/>
            <p:nvPr userDrawn="1"/>
          </p:nvSpPr>
          <p:spPr>
            <a:xfrm flipH="1">
              <a:off x="10028044" y="5939688"/>
              <a:ext cx="619661" cy="619661"/>
            </a:xfrm>
            <a:custGeom>
              <a:avLst/>
              <a:gdLst>
                <a:gd name="connsiteX0" fmla="*/ 0 w 342328"/>
                <a:gd name="connsiteY0" fmla="*/ 0 h 342328"/>
                <a:gd name="connsiteX1" fmla="*/ 0 w 342328"/>
                <a:gd name="connsiteY1" fmla="*/ 0 h 342328"/>
                <a:gd name="connsiteX2" fmla="*/ 342329 w 342328"/>
                <a:gd name="connsiteY2" fmla="*/ 342329 h 342328"/>
                <a:gd name="connsiteX3" fmla="*/ 342329 w 342328"/>
                <a:gd name="connsiteY3" fmla="*/ 342329 h 342328"/>
                <a:gd name="connsiteX4" fmla="*/ 0 w 342328"/>
                <a:gd name="connsiteY4" fmla="*/ 0 h 34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28" h="342328">
                  <a:moveTo>
                    <a:pt x="0" y="0"/>
                  </a:moveTo>
                  <a:lnTo>
                    <a:pt x="0" y="0"/>
                  </a:lnTo>
                  <a:cubicBezTo>
                    <a:pt x="189062" y="0"/>
                    <a:pt x="342329" y="153267"/>
                    <a:pt x="342329" y="342329"/>
                  </a:cubicBezTo>
                  <a:lnTo>
                    <a:pt x="342329" y="342329"/>
                  </a:lnTo>
                  <a:cubicBezTo>
                    <a:pt x="153267" y="342329"/>
                    <a:pt x="0" y="189062"/>
                    <a:pt x="0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6" name="Freeform: Shape 155">
              <a:extLst>
                <a:ext uri="{FF2B5EF4-FFF2-40B4-BE49-F238E27FC236}">
                  <a16:creationId xmlns:a16="http://schemas.microsoft.com/office/drawing/2014/main" id="{D664B357-8A37-4617-B3A9-7A795BBF1EC8}"/>
                </a:ext>
              </a:extLst>
            </p:cNvPr>
            <p:cNvSpPr/>
            <p:nvPr userDrawn="1"/>
          </p:nvSpPr>
          <p:spPr>
            <a:xfrm flipH="1">
              <a:off x="10028044" y="5318992"/>
              <a:ext cx="619661" cy="620696"/>
            </a:xfrm>
            <a:custGeom>
              <a:avLst/>
              <a:gdLst>
                <a:gd name="connsiteX0" fmla="*/ 342329 w 342328"/>
                <a:gd name="connsiteY0" fmla="*/ 0 h 342900"/>
                <a:gd name="connsiteX1" fmla="*/ 342329 w 342328"/>
                <a:gd name="connsiteY1" fmla="*/ 0 h 342900"/>
                <a:gd name="connsiteX2" fmla="*/ 0 w 342328"/>
                <a:gd name="connsiteY2" fmla="*/ 342900 h 342900"/>
                <a:gd name="connsiteX3" fmla="*/ 0 w 342328"/>
                <a:gd name="connsiteY3" fmla="*/ 342900 h 342900"/>
                <a:gd name="connsiteX4" fmla="*/ 342329 w 342328"/>
                <a:gd name="connsiteY4" fmla="*/ 571 h 342900"/>
                <a:gd name="connsiteX5" fmla="*/ 342329 w 342328"/>
                <a:gd name="connsiteY5" fmla="*/ 0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328" h="342900">
                  <a:moveTo>
                    <a:pt x="342329" y="0"/>
                  </a:moveTo>
                  <a:lnTo>
                    <a:pt x="342329" y="0"/>
                  </a:lnTo>
                  <a:cubicBezTo>
                    <a:pt x="153171" y="315"/>
                    <a:pt x="0" y="153743"/>
                    <a:pt x="0" y="342900"/>
                  </a:cubicBezTo>
                  <a:lnTo>
                    <a:pt x="0" y="342900"/>
                  </a:lnTo>
                  <a:cubicBezTo>
                    <a:pt x="189062" y="342900"/>
                    <a:pt x="342329" y="189633"/>
                    <a:pt x="342329" y="571"/>
                  </a:cubicBezTo>
                  <a:cubicBezTo>
                    <a:pt x="342329" y="381"/>
                    <a:pt x="342329" y="191"/>
                    <a:pt x="342329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7" name="Freeform: Shape 156">
              <a:extLst>
                <a:ext uri="{FF2B5EF4-FFF2-40B4-BE49-F238E27FC236}">
                  <a16:creationId xmlns:a16="http://schemas.microsoft.com/office/drawing/2014/main" id="{14E311FA-7DA4-45BC-81B1-E0C9C15652D9}"/>
                </a:ext>
              </a:extLst>
            </p:cNvPr>
            <p:cNvSpPr/>
            <p:nvPr userDrawn="1"/>
          </p:nvSpPr>
          <p:spPr>
            <a:xfrm flipH="1">
              <a:off x="9408212" y="5939686"/>
              <a:ext cx="619833" cy="619661"/>
            </a:xfrm>
            <a:custGeom>
              <a:avLst/>
              <a:gdLst>
                <a:gd name="connsiteX0" fmla="*/ 342424 w 342423"/>
                <a:gd name="connsiteY0" fmla="*/ 0 h 342328"/>
                <a:gd name="connsiteX1" fmla="*/ 342424 w 342423"/>
                <a:gd name="connsiteY1" fmla="*/ 0 h 342328"/>
                <a:gd name="connsiteX2" fmla="*/ 0 w 342423"/>
                <a:gd name="connsiteY2" fmla="*/ 342233 h 342328"/>
                <a:gd name="connsiteX3" fmla="*/ 0 w 342423"/>
                <a:gd name="connsiteY3" fmla="*/ 342329 h 342328"/>
                <a:gd name="connsiteX4" fmla="*/ 0 w 342423"/>
                <a:gd name="connsiteY4" fmla="*/ 342329 h 342328"/>
                <a:gd name="connsiteX5" fmla="*/ 342424 w 342423"/>
                <a:gd name="connsiteY5" fmla="*/ 0 h 34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423" h="342328">
                  <a:moveTo>
                    <a:pt x="342424" y="0"/>
                  </a:moveTo>
                  <a:lnTo>
                    <a:pt x="342424" y="0"/>
                  </a:lnTo>
                  <a:cubicBezTo>
                    <a:pt x="153362" y="-48"/>
                    <a:pt x="57" y="153171"/>
                    <a:pt x="0" y="342233"/>
                  </a:cubicBezTo>
                  <a:cubicBezTo>
                    <a:pt x="0" y="342262"/>
                    <a:pt x="0" y="342300"/>
                    <a:pt x="0" y="342329"/>
                  </a:cubicBezTo>
                  <a:lnTo>
                    <a:pt x="0" y="342329"/>
                  </a:lnTo>
                  <a:cubicBezTo>
                    <a:pt x="188966" y="342062"/>
                    <a:pt x="342109" y="188966"/>
                    <a:pt x="342424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8" name="Freeform: Shape 157">
              <a:extLst>
                <a:ext uri="{FF2B5EF4-FFF2-40B4-BE49-F238E27FC236}">
                  <a16:creationId xmlns:a16="http://schemas.microsoft.com/office/drawing/2014/main" id="{96CA7E82-0717-41FB-9A6C-41CDCB30F4A8}"/>
                </a:ext>
              </a:extLst>
            </p:cNvPr>
            <p:cNvSpPr/>
            <p:nvPr userDrawn="1"/>
          </p:nvSpPr>
          <p:spPr>
            <a:xfrm flipH="1">
              <a:off x="9408212" y="5318992"/>
              <a:ext cx="619833" cy="620696"/>
            </a:xfrm>
            <a:custGeom>
              <a:avLst/>
              <a:gdLst>
                <a:gd name="connsiteX0" fmla="*/ 0 w 342423"/>
                <a:gd name="connsiteY0" fmla="*/ 0 h 342900"/>
                <a:gd name="connsiteX1" fmla="*/ 0 w 342423"/>
                <a:gd name="connsiteY1" fmla="*/ 0 h 342900"/>
                <a:gd name="connsiteX2" fmla="*/ 342424 w 342423"/>
                <a:gd name="connsiteY2" fmla="*/ 342900 h 342900"/>
                <a:gd name="connsiteX3" fmla="*/ 342424 w 342423"/>
                <a:gd name="connsiteY3" fmla="*/ 342900 h 342900"/>
                <a:gd name="connsiteX4" fmla="*/ 0 w 342423"/>
                <a:gd name="connsiteY4" fmla="*/ 667 h 342900"/>
                <a:gd name="connsiteX5" fmla="*/ 0 w 342423"/>
                <a:gd name="connsiteY5" fmla="*/ 0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423" h="342900">
                  <a:moveTo>
                    <a:pt x="0" y="0"/>
                  </a:moveTo>
                  <a:lnTo>
                    <a:pt x="0" y="0"/>
                  </a:lnTo>
                  <a:cubicBezTo>
                    <a:pt x="189195" y="267"/>
                    <a:pt x="342424" y="153705"/>
                    <a:pt x="342424" y="342900"/>
                  </a:cubicBezTo>
                  <a:lnTo>
                    <a:pt x="342424" y="342900"/>
                  </a:lnTo>
                  <a:cubicBezTo>
                    <a:pt x="153362" y="342957"/>
                    <a:pt x="57" y="189729"/>
                    <a:pt x="0" y="667"/>
                  </a:cubicBezTo>
                  <a:cubicBezTo>
                    <a:pt x="0" y="448"/>
                    <a:pt x="0" y="219"/>
                    <a:pt x="0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9" name="Freeform: Shape 158">
              <a:extLst>
                <a:ext uri="{FF2B5EF4-FFF2-40B4-BE49-F238E27FC236}">
                  <a16:creationId xmlns:a16="http://schemas.microsoft.com/office/drawing/2014/main" id="{BA2AE58D-DEEB-4515-ADAA-F592A35EC276}"/>
                </a:ext>
              </a:extLst>
            </p:cNvPr>
            <p:cNvSpPr/>
            <p:nvPr userDrawn="1"/>
          </p:nvSpPr>
          <p:spPr>
            <a:xfrm flipH="1">
              <a:off x="8788549" y="5939688"/>
              <a:ext cx="619661" cy="619661"/>
            </a:xfrm>
            <a:custGeom>
              <a:avLst/>
              <a:gdLst>
                <a:gd name="connsiteX0" fmla="*/ 0 w 342328"/>
                <a:gd name="connsiteY0" fmla="*/ 0 h 342328"/>
                <a:gd name="connsiteX1" fmla="*/ 0 w 342328"/>
                <a:gd name="connsiteY1" fmla="*/ 0 h 342328"/>
                <a:gd name="connsiteX2" fmla="*/ 342329 w 342328"/>
                <a:gd name="connsiteY2" fmla="*/ 342329 h 342328"/>
                <a:gd name="connsiteX3" fmla="*/ 342329 w 342328"/>
                <a:gd name="connsiteY3" fmla="*/ 342329 h 342328"/>
                <a:gd name="connsiteX4" fmla="*/ 0 w 342328"/>
                <a:gd name="connsiteY4" fmla="*/ 0 h 34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28" h="342328">
                  <a:moveTo>
                    <a:pt x="0" y="0"/>
                  </a:moveTo>
                  <a:lnTo>
                    <a:pt x="0" y="0"/>
                  </a:lnTo>
                  <a:cubicBezTo>
                    <a:pt x="189062" y="0"/>
                    <a:pt x="342329" y="153267"/>
                    <a:pt x="342329" y="342329"/>
                  </a:cubicBezTo>
                  <a:lnTo>
                    <a:pt x="342329" y="342329"/>
                  </a:lnTo>
                  <a:cubicBezTo>
                    <a:pt x="153267" y="342329"/>
                    <a:pt x="0" y="189062"/>
                    <a:pt x="0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0" name="Freeform: Shape 159">
              <a:extLst>
                <a:ext uri="{FF2B5EF4-FFF2-40B4-BE49-F238E27FC236}">
                  <a16:creationId xmlns:a16="http://schemas.microsoft.com/office/drawing/2014/main" id="{50814774-6C6C-47C8-8EFC-6ADEBC237E09}"/>
                </a:ext>
              </a:extLst>
            </p:cNvPr>
            <p:cNvSpPr/>
            <p:nvPr userDrawn="1"/>
          </p:nvSpPr>
          <p:spPr>
            <a:xfrm flipH="1">
              <a:off x="8788549" y="5318992"/>
              <a:ext cx="619661" cy="620696"/>
            </a:xfrm>
            <a:custGeom>
              <a:avLst/>
              <a:gdLst>
                <a:gd name="connsiteX0" fmla="*/ 342329 w 342328"/>
                <a:gd name="connsiteY0" fmla="*/ 0 h 342900"/>
                <a:gd name="connsiteX1" fmla="*/ 342329 w 342328"/>
                <a:gd name="connsiteY1" fmla="*/ 0 h 342900"/>
                <a:gd name="connsiteX2" fmla="*/ 0 w 342328"/>
                <a:gd name="connsiteY2" fmla="*/ 342900 h 342900"/>
                <a:gd name="connsiteX3" fmla="*/ 0 w 342328"/>
                <a:gd name="connsiteY3" fmla="*/ 342900 h 342900"/>
                <a:gd name="connsiteX4" fmla="*/ 342329 w 342328"/>
                <a:gd name="connsiteY4" fmla="*/ 571 h 342900"/>
                <a:gd name="connsiteX5" fmla="*/ 342329 w 342328"/>
                <a:gd name="connsiteY5" fmla="*/ 0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328" h="342900">
                  <a:moveTo>
                    <a:pt x="342329" y="0"/>
                  </a:moveTo>
                  <a:lnTo>
                    <a:pt x="342329" y="0"/>
                  </a:lnTo>
                  <a:cubicBezTo>
                    <a:pt x="153171" y="315"/>
                    <a:pt x="0" y="153743"/>
                    <a:pt x="0" y="342900"/>
                  </a:cubicBezTo>
                  <a:lnTo>
                    <a:pt x="0" y="342900"/>
                  </a:lnTo>
                  <a:cubicBezTo>
                    <a:pt x="189062" y="342900"/>
                    <a:pt x="342329" y="189633"/>
                    <a:pt x="342329" y="571"/>
                  </a:cubicBezTo>
                  <a:cubicBezTo>
                    <a:pt x="342329" y="381"/>
                    <a:pt x="342329" y="191"/>
                    <a:pt x="342329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73E76E98-3B00-44ED-AF85-BF01A2BE2610}"/>
                </a:ext>
              </a:extLst>
            </p:cNvPr>
            <p:cNvSpPr/>
            <p:nvPr userDrawn="1"/>
          </p:nvSpPr>
          <p:spPr>
            <a:xfrm flipH="1">
              <a:off x="8168715" y="5939686"/>
              <a:ext cx="619833" cy="619661"/>
            </a:xfrm>
            <a:custGeom>
              <a:avLst/>
              <a:gdLst>
                <a:gd name="connsiteX0" fmla="*/ 342424 w 342423"/>
                <a:gd name="connsiteY0" fmla="*/ 0 h 342328"/>
                <a:gd name="connsiteX1" fmla="*/ 342424 w 342423"/>
                <a:gd name="connsiteY1" fmla="*/ 0 h 342328"/>
                <a:gd name="connsiteX2" fmla="*/ 0 w 342423"/>
                <a:gd name="connsiteY2" fmla="*/ 342233 h 342328"/>
                <a:gd name="connsiteX3" fmla="*/ 0 w 342423"/>
                <a:gd name="connsiteY3" fmla="*/ 342329 h 342328"/>
                <a:gd name="connsiteX4" fmla="*/ 0 w 342423"/>
                <a:gd name="connsiteY4" fmla="*/ 342329 h 342328"/>
                <a:gd name="connsiteX5" fmla="*/ 342424 w 342423"/>
                <a:gd name="connsiteY5" fmla="*/ 0 h 34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423" h="342328">
                  <a:moveTo>
                    <a:pt x="342424" y="0"/>
                  </a:moveTo>
                  <a:lnTo>
                    <a:pt x="342424" y="0"/>
                  </a:lnTo>
                  <a:cubicBezTo>
                    <a:pt x="153362" y="-48"/>
                    <a:pt x="57" y="153171"/>
                    <a:pt x="0" y="342233"/>
                  </a:cubicBezTo>
                  <a:cubicBezTo>
                    <a:pt x="0" y="342262"/>
                    <a:pt x="0" y="342300"/>
                    <a:pt x="0" y="342329"/>
                  </a:cubicBezTo>
                  <a:lnTo>
                    <a:pt x="0" y="342329"/>
                  </a:lnTo>
                  <a:cubicBezTo>
                    <a:pt x="188966" y="342062"/>
                    <a:pt x="342109" y="188966"/>
                    <a:pt x="342424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2" name="Freeform: Shape 161">
              <a:extLst>
                <a:ext uri="{FF2B5EF4-FFF2-40B4-BE49-F238E27FC236}">
                  <a16:creationId xmlns:a16="http://schemas.microsoft.com/office/drawing/2014/main" id="{88F29C33-730A-43CC-A214-4076105431FB}"/>
                </a:ext>
              </a:extLst>
            </p:cNvPr>
            <p:cNvSpPr/>
            <p:nvPr userDrawn="1"/>
          </p:nvSpPr>
          <p:spPr>
            <a:xfrm flipH="1">
              <a:off x="8168715" y="5318992"/>
              <a:ext cx="619833" cy="620696"/>
            </a:xfrm>
            <a:custGeom>
              <a:avLst/>
              <a:gdLst>
                <a:gd name="connsiteX0" fmla="*/ 0 w 342423"/>
                <a:gd name="connsiteY0" fmla="*/ 0 h 342900"/>
                <a:gd name="connsiteX1" fmla="*/ 0 w 342423"/>
                <a:gd name="connsiteY1" fmla="*/ 0 h 342900"/>
                <a:gd name="connsiteX2" fmla="*/ 342424 w 342423"/>
                <a:gd name="connsiteY2" fmla="*/ 342900 h 342900"/>
                <a:gd name="connsiteX3" fmla="*/ 342424 w 342423"/>
                <a:gd name="connsiteY3" fmla="*/ 342900 h 342900"/>
                <a:gd name="connsiteX4" fmla="*/ 0 w 342423"/>
                <a:gd name="connsiteY4" fmla="*/ 667 h 342900"/>
                <a:gd name="connsiteX5" fmla="*/ 0 w 342423"/>
                <a:gd name="connsiteY5" fmla="*/ 0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423" h="342900">
                  <a:moveTo>
                    <a:pt x="0" y="0"/>
                  </a:moveTo>
                  <a:lnTo>
                    <a:pt x="0" y="0"/>
                  </a:lnTo>
                  <a:cubicBezTo>
                    <a:pt x="189195" y="267"/>
                    <a:pt x="342424" y="153705"/>
                    <a:pt x="342424" y="342900"/>
                  </a:cubicBezTo>
                  <a:lnTo>
                    <a:pt x="342424" y="342900"/>
                  </a:lnTo>
                  <a:cubicBezTo>
                    <a:pt x="153362" y="342957"/>
                    <a:pt x="57" y="189729"/>
                    <a:pt x="0" y="667"/>
                  </a:cubicBezTo>
                  <a:cubicBezTo>
                    <a:pt x="0" y="448"/>
                    <a:pt x="0" y="219"/>
                    <a:pt x="0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3" name="Freeform: Shape 162">
              <a:extLst>
                <a:ext uri="{FF2B5EF4-FFF2-40B4-BE49-F238E27FC236}">
                  <a16:creationId xmlns:a16="http://schemas.microsoft.com/office/drawing/2014/main" id="{F950309F-6F93-45FD-B962-1D64D02B1B9E}"/>
                </a:ext>
              </a:extLst>
            </p:cNvPr>
            <p:cNvSpPr/>
            <p:nvPr userDrawn="1"/>
          </p:nvSpPr>
          <p:spPr>
            <a:xfrm flipH="1">
              <a:off x="7549054" y="5939688"/>
              <a:ext cx="619661" cy="619661"/>
            </a:xfrm>
            <a:custGeom>
              <a:avLst/>
              <a:gdLst>
                <a:gd name="connsiteX0" fmla="*/ 0 w 342328"/>
                <a:gd name="connsiteY0" fmla="*/ 0 h 342328"/>
                <a:gd name="connsiteX1" fmla="*/ 0 w 342328"/>
                <a:gd name="connsiteY1" fmla="*/ 0 h 342328"/>
                <a:gd name="connsiteX2" fmla="*/ 342329 w 342328"/>
                <a:gd name="connsiteY2" fmla="*/ 342329 h 342328"/>
                <a:gd name="connsiteX3" fmla="*/ 342329 w 342328"/>
                <a:gd name="connsiteY3" fmla="*/ 342329 h 342328"/>
                <a:gd name="connsiteX4" fmla="*/ 0 w 342328"/>
                <a:gd name="connsiteY4" fmla="*/ 0 h 34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28" h="342328">
                  <a:moveTo>
                    <a:pt x="0" y="0"/>
                  </a:moveTo>
                  <a:lnTo>
                    <a:pt x="0" y="0"/>
                  </a:lnTo>
                  <a:cubicBezTo>
                    <a:pt x="189062" y="0"/>
                    <a:pt x="342329" y="153267"/>
                    <a:pt x="342329" y="342329"/>
                  </a:cubicBezTo>
                  <a:lnTo>
                    <a:pt x="342329" y="342329"/>
                  </a:lnTo>
                  <a:cubicBezTo>
                    <a:pt x="153267" y="342329"/>
                    <a:pt x="0" y="189062"/>
                    <a:pt x="0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4" name="Freeform: Shape 163">
              <a:extLst>
                <a:ext uri="{FF2B5EF4-FFF2-40B4-BE49-F238E27FC236}">
                  <a16:creationId xmlns:a16="http://schemas.microsoft.com/office/drawing/2014/main" id="{B7E71AA4-8D11-4F93-8D5C-2FF5B55F749D}"/>
                </a:ext>
              </a:extLst>
            </p:cNvPr>
            <p:cNvSpPr/>
            <p:nvPr userDrawn="1"/>
          </p:nvSpPr>
          <p:spPr>
            <a:xfrm flipH="1">
              <a:off x="7549054" y="5318992"/>
              <a:ext cx="619661" cy="620696"/>
            </a:xfrm>
            <a:custGeom>
              <a:avLst/>
              <a:gdLst>
                <a:gd name="connsiteX0" fmla="*/ 342329 w 342328"/>
                <a:gd name="connsiteY0" fmla="*/ 0 h 342900"/>
                <a:gd name="connsiteX1" fmla="*/ 342329 w 342328"/>
                <a:gd name="connsiteY1" fmla="*/ 0 h 342900"/>
                <a:gd name="connsiteX2" fmla="*/ 0 w 342328"/>
                <a:gd name="connsiteY2" fmla="*/ 342900 h 342900"/>
                <a:gd name="connsiteX3" fmla="*/ 0 w 342328"/>
                <a:gd name="connsiteY3" fmla="*/ 342900 h 342900"/>
                <a:gd name="connsiteX4" fmla="*/ 342329 w 342328"/>
                <a:gd name="connsiteY4" fmla="*/ 571 h 342900"/>
                <a:gd name="connsiteX5" fmla="*/ 342329 w 342328"/>
                <a:gd name="connsiteY5" fmla="*/ 0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328" h="342900">
                  <a:moveTo>
                    <a:pt x="342329" y="0"/>
                  </a:moveTo>
                  <a:lnTo>
                    <a:pt x="342329" y="0"/>
                  </a:lnTo>
                  <a:cubicBezTo>
                    <a:pt x="153171" y="315"/>
                    <a:pt x="0" y="153743"/>
                    <a:pt x="0" y="342900"/>
                  </a:cubicBezTo>
                  <a:lnTo>
                    <a:pt x="0" y="342900"/>
                  </a:lnTo>
                  <a:cubicBezTo>
                    <a:pt x="189062" y="342900"/>
                    <a:pt x="342329" y="189633"/>
                    <a:pt x="342329" y="571"/>
                  </a:cubicBezTo>
                  <a:cubicBezTo>
                    <a:pt x="342329" y="381"/>
                    <a:pt x="342329" y="191"/>
                    <a:pt x="342329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5" name="Freeform: Shape 164">
              <a:extLst>
                <a:ext uri="{FF2B5EF4-FFF2-40B4-BE49-F238E27FC236}">
                  <a16:creationId xmlns:a16="http://schemas.microsoft.com/office/drawing/2014/main" id="{32D9DBA8-C72D-48E4-A092-8D0EEF913977}"/>
                </a:ext>
              </a:extLst>
            </p:cNvPr>
            <p:cNvSpPr/>
            <p:nvPr userDrawn="1"/>
          </p:nvSpPr>
          <p:spPr>
            <a:xfrm flipH="1">
              <a:off x="6929217" y="5939686"/>
              <a:ext cx="620696" cy="619663"/>
            </a:xfrm>
            <a:custGeom>
              <a:avLst/>
              <a:gdLst>
                <a:gd name="connsiteX0" fmla="*/ 342900 w 342900"/>
                <a:gd name="connsiteY0" fmla="*/ 0 h 342329"/>
                <a:gd name="connsiteX1" fmla="*/ 342900 w 342900"/>
                <a:gd name="connsiteY1" fmla="*/ 0 h 342329"/>
                <a:gd name="connsiteX2" fmla="*/ 0 w 342900"/>
                <a:gd name="connsiteY2" fmla="*/ 341758 h 342329"/>
                <a:gd name="connsiteX3" fmla="*/ 0 w 342900"/>
                <a:gd name="connsiteY3" fmla="*/ 342329 h 342329"/>
                <a:gd name="connsiteX4" fmla="*/ 0 w 342900"/>
                <a:gd name="connsiteY4" fmla="*/ 342329 h 342329"/>
                <a:gd name="connsiteX5" fmla="*/ 342900 w 342900"/>
                <a:gd name="connsiteY5" fmla="*/ 0 h 342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900" h="342329">
                  <a:moveTo>
                    <a:pt x="342900" y="0"/>
                  </a:moveTo>
                  <a:lnTo>
                    <a:pt x="342900" y="0"/>
                  </a:lnTo>
                  <a:cubicBezTo>
                    <a:pt x="153838" y="-314"/>
                    <a:pt x="314" y="152696"/>
                    <a:pt x="0" y="341758"/>
                  </a:cubicBezTo>
                  <a:cubicBezTo>
                    <a:pt x="0" y="341948"/>
                    <a:pt x="0" y="342138"/>
                    <a:pt x="0" y="342329"/>
                  </a:cubicBezTo>
                  <a:lnTo>
                    <a:pt x="0" y="342329"/>
                  </a:lnTo>
                  <a:cubicBezTo>
                    <a:pt x="189157" y="342329"/>
                    <a:pt x="342585" y="189158"/>
                    <a:pt x="342900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6" name="Freeform: Shape 165">
              <a:extLst>
                <a:ext uri="{FF2B5EF4-FFF2-40B4-BE49-F238E27FC236}">
                  <a16:creationId xmlns:a16="http://schemas.microsoft.com/office/drawing/2014/main" id="{3D10F61A-A475-40EA-BA1F-9044DCA580EC}"/>
                </a:ext>
              </a:extLst>
            </p:cNvPr>
            <p:cNvSpPr/>
            <p:nvPr userDrawn="1"/>
          </p:nvSpPr>
          <p:spPr>
            <a:xfrm flipH="1">
              <a:off x="6928356" y="5318992"/>
              <a:ext cx="620696" cy="620696"/>
            </a:xfrm>
            <a:custGeom>
              <a:avLst/>
              <a:gdLst>
                <a:gd name="connsiteX0" fmla="*/ 0 w 342900"/>
                <a:gd name="connsiteY0" fmla="*/ 0 h 342900"/>
                <a:gd name="connsiteX1" fmla="*/ 0 w 342900"/>
                <a:gd name="connsiteY1" fmla="*/ 0 h 342900"/>
                <a:gd name="connsiteX2" fmla="*/ 342900 w 342900"/>
                <a:gd name="connsiteY2" fmla="*/ 342900 h 342900"/>
                <a:gd name="connsiteX3" fmla="*/ 342900 w 342900"/>
                <a:gd name="connsiteY3" fmla="*/ 342900 h 342900"/>
                <a:gd name="connsiteX4" fmla="*/ 0 w 342900"/>
                <a:gd name="connsiteY4" fmla="*/ 1143 h 342900"/>
                <a:gd name="connsiteX5" fmla="*/ 0 w 342900"/>
                <a:gd name="connsiteY5" fmla="*/ 0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900" h="342900">
                  <a:moveTo>
                    <a:pt x="0" y="0"/>
                  </a:moveTo>
                  <a:lnTo>
                    <a:pt x="0" y="0"/>
                  </a:lnTo>
                  <a:cubicBezTo>
                    <a:pt x="189376" y="0"/>
                    <a:pt x="342900" y="153524"/>
                    <a:pt x="342900" y="342900"/>
                  </a:cubicBezTo>
                  <a:lnTo>
                    <a:pt x="342900" y="342900"/>
                  </a:lnTo>
                  <a:cubicBezTo>
                    <a:pt x="153838" y="343215"/>
                    <a:pt x="314" y="190205"/>
                    <a:pt x="0" y="1143"/>
                  </a:cubicBezTo>
                  <a:cubicBezTo>
                    <a:pt x="0" y="762"/>
                    <a:pt x="0" y="381"/>
                    <a:pt x="0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7" name="Freeform: Shape 166">
              <a:extLst>
                <a:ext uri="{FF2B5EF4-FFF2-40B4-BE49-F238E27FC236}">
                  <a16:creationId xmlns:a16="http://schemas.microsoft.com/office/drawing/2014/main" id="{E17B506A-C187-4433-A91B-011C0338401D}"/>
                </a:ext>
              </a:extLst>
            </p:cNvPr>
            <p:cNvSpPr/>
            <p:nvPr userDrawn="1"/>
          </p:nvSpPr>
          <p:spPr>
            <a:xfrm flipH="1">
              <a:off x="6309557" y="5318992"/>
              <a:ext cx="619661" cy="620696"/>
            </a:xfrm>
            <a:custGeom>
              <a:avLst/>
              <a:gdLst>
                <a:gd name="connsiteX0" fmla="*/ 0 w 342328"/>
                <a:gd name="connsiteY0" fmla="*/ 0 h 342900"/>
                <a:gd name="connsiteX1" fmla="*/ 0 w 342328"/>
                <a:gd name="connsiteY1" fmla="*/ 0 h 342900"/>
                <a:gd name="connsiteX2" fmla="*/ 342329 w 342328"/>
                <a:gd name="connsiteY2" fmla="*/ 342900 h 342900"/>
                <a:gd name="connsiteX3" fmla="*/ 342329 w 342328"/>
                <a:gd name="connsiteY3" fmla="*/ 342900 h 342900"/>
                <a:gd name="connsiteX4" fmla="*/ 0 w 342328"/>
                <a:gd name="connsiteY4" fmla="*/ 571 h 342900"/>
                <a:gd name="connsiteX5" fmla="*/ 0 w 342328"/>
                <a:gd name="connsiteY5" fmla="*/ 0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328" h="342900">
                  <a:moveTo>
                    <a:pt x="0" y="0"/>
                  </a:moveTo>
                  <a:lnTo>
                    <a:pt x="0" y="0"/>
                  </a:lnTo>
                  <a:cubicBezTo>
                    <a:pt x="189157" y="315"/>
                    <a:pt x="342329" y="153743"/>
                    <a:pt x="342329" y="342900"/>
                  </a:cubicBezTo>
                  <a:lnTo>
                    <a:pt x="342329" y="342900"/>
                  </a:lnTo>
                  <a:cubicBezTo>
                    <a:pt x="153267" y="342900"/>
                    <a:pt x="0" y="189633"/>
                    <a:pt x="0" y="571"/>
                  </a:cubicBezTo>
                  <a:cubicBezTo>
                    <a:pt x="0" y="381"/>
                    <a:pt x="0" y="191"/>
                    <a:pt x="0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8" name="Freeform: Shape 167">
              <a:extLst>
                <a:ext uri="{FF2B5EF4-FFF2-40B4-BE49-F238E27FC236}">
                  <a16:creationId xmlns:a16="http://schemas.microsoft.com/office/drawing/2014/main" id="{BF20D0AC-AF96-4A53-A242-FE1716ACA35E}"/>
                </a:ext>
              </a:extLst>
            </p:cNvPr>
            <p:cNvSpPr/>
            <p:nvPr userDrawn="1"/>
          </p:nvSpPr>
          <p:spPr>
            <a:xfrm flipH="1">
              <a:off x="5689724" y="5939688"/>
              <a:ext cx="619833" cy="619661"/>
            </a:xfrm>
            <a:custGeom>
              <a:avLst/>
              <a:gdLst>
                <a:gd name="connsiteX0" fmla="*/ 0 w 342423"/>
                <a:gd name="connsiteY0" fmla="*/ 0 h 342328"/>
                <a:gd name="connsiteX1" fmla="*/ 0 w 342423"/>
                <a:gd name="connsiteY1" fmla="*/ 0 h 342328"/>
                <a:gd name="connsiteX2" fmla="*/ 342424 w 342423"/>
                <a:gd name="connsiteY2" fmla="*/ 342329 h 342328"/>
                <a:gd name="connsiteX3" fmla="*/ 342424 w 342423"/>
                <a:gd name="connsiteY3" fmla="*/ 342329 h 342328"/>
                <a:gd name="connsiteX4" fmla="*/ 0 w 342423"/>
                <a:gd name="connsiteY4" fmla="*/ 95 h 342328"/>
                <a:gd name="connsiteX5" fmla="*/ 0 w 342423"/>
                <a:gd name="connsiteY5" fmla="*/ 0 h 34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423" h="342328">
                  <a:moveTo>
                    <a:pt x="0" y="0"/>
                  </a:moveTo>
                  <a:lnTo>
                    <a:pt x="0" y="0"/>
                  </a:lnTo>
                  <a:cubicBezTo>
                    <a:pt x="188966" y="267"/>
                    <a:pt x="342109" y="153362"/>
                    <a:pt x="342424" y="342329"/>
                  </a:cubicBezTo>
                  <a:lnTo>
                    <a:pt x="342424" y="342329"/>
                  </a:lnTo>
                  <a:cubicBezTo>
                    <a:pt x="153362" y="342376"/>
                    <a:pt x="57" y="189157"/>
                    <a:pt x="0" y="95"/>
                  </a:cubicBezTo>
                  <a:cubicBezTo>
                    <a:pt x="0" y="67"/>
                    <a:pt x="0" y="28"/>
                    <a:pt x="0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9" name="Freeform: Shape 168">
              <a:extLst>
                <a:ext uri="{FF2B5EF4-FFF2-40B4-BE49-F238E27FC236}">
                  <a16:creationId xmlns:a16="http://schemas.microsoft.com/office/drawing/2014/main" id="{FFEDE9B7-0D11-4402-A6D1-30665D7097DB}"/>
                </a:ext>
              </a:extLst>
            </p:cNvPr>
            <p:cNvSpPr/>
            <p:nvPr userDrawn="1"/>
          </p:nvSpPr>
          <p:spPr>
            <a:xfrm flipH="1">
              <a:off x="5689724" y="5318992"/>
              <a:ext cx="619833" cy="620696"/>
            </a:xfrm>
            <a:custGeom>
              <a:avLst/>
              <a:gdLst>
                <a:gd name="connsiteX0" fmla="*/ 342424 w 342423"/>
                <a:gd name="connsiteY0" fmla="*/ 0 h 342900"/>
                <a:gd name="connsiteX1" fmla="*/ 342424 w 342423"/>
                <a:gd name="connsiteY1" fmla="*/ 0 h 342900"/>
                <a:gd name="connsiteX2" fmla="*/ 0 w 342423"/>
                <a:gd name="connsiteY2" fmla="*/ 342900 h 342900"/>
                <a:gd name="connsiteX3" fmla="*/ 0 w 342423"/>
                <a:gd name="connsiteY3" fmla="*/ 342900 h 342900"/>
                <a:gd name="connsiteX4" fmla="*/ 342424 w 342423"/>
                <a:gd name="connsiteY4" fmla="*/ 0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423" h="342900">
                  <a:moveTo>
                    <a:pt x="342424" y="0"/>
                  </a:moveTo>
                  <a:lnTo>
                    <a:pt x="342424" y="0"/>
                  </a:lnTo>
                  <a:cubicBezTo>
                    <a:pt x="153229" y="267"/>
                    <a:pt x="0" y="153705"/>
                    <a:pt x="0" y="342900"/>
                  </a:cubicBezTo>
                  <a:lnTo>
                    <a:pt x="0" y="342900"/>
                  </a:lnTo>
                  <a:cubicBezTo>
                    <a:pt x="189195" y="342633"/>
                    <a:pt x="342424" y="189195"/>
                    <a:pt x="342424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0" name="Freeform: Shape 169">
              <a:extLst>
                <a:ext uri="{FF2B5EF4-FFF2-40B4-BE49-F238E27FC236}">
                  <a16:creationId xmlns:a16="http://schemas.microsoft.com/office/drawing/2014/main" id="{F5D829A4-1D10-4646-84CA-BE36B0896ADB}"/>
                </a:ext>
              </a:extLst>
            </p:cNvPr>
            <p:cNvSpPr/>
            <p:nvPr userDrawn="1"/>
          </p:nvSpPr>
          <p:spPr>
            <a:xfrm flipH="1">
              <a:off x="11267539" y="4699330"/>
              <a:ext cx="619661" cy="619661"/>
            </a:xfrm>
            <a:custGeom>
              <a:avLst/>
              <a:gdLst>
                <a:gd name="connsiteX0" fmla="*/ 0 w 342328"/>
                <a:gd name="connsiteY0" fmla="*/ 95 h 342328"/>
                <a:gd name="connsiteX1" fmla="*/ 0 w 342328"/>
                <a:gd name="connsiteY1" fmla="*/ 95 h 342328"/>
                <a:gd name="connsiteX2" fmla="*/ 342329 w 342328"/>
                <a:gd name="connsiteY2" fmla="*/ 342329 h 342328"/>
                <a:gd name="connsiteX3" fmla="*/ 342329 w 342328"/>
                <a:gd name="connsiteY3" fmla="*/ 342329 h 342328"/>
                <a:gd name="connsiteX4" fmla="*/ 0 w 342328"/>
                <a:gd name="connsiteY4" fmla="*/ 0 h 34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28" h="342328">
                  <a:moveTo>
                    <a:pt x="0" y="95"/>
                  </a:moveTo>
                  <a:lnTo>
                    <a:pt x="0" y="95"/>
                  </a:lnTo>
                  <a:cubicBezTo>
                    <a:pt x="189024" y="95"/>
                    <a:pt x="342271" y="153305"/>
                    <a:pt x="342329" y="342329"/>
                  </a:cubicBezTo>
                  <a:lnTo>
                    <a:pt x="342329" y="342329"/>
                  </a:lnTo>
                  <a:cubicBezTo>
                    <a:pt x="153267" y="342329"/>
                    <a:pt x="0" y="189062"/>
                    <a:pt x="0" y="0"/>
                  </a:cubicBezTo>
                </a:path>
              </a:pathLst>
            </a:custGeom>
            <a:solidFill>
              <a:schemeClr val="bg1">
                <a:alpha val="6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1" name="Freeform: Shape 170">
              <a:extLst>
                <a:ext uri="{FF2B5EF4-FFF2-40B4-BE49-F238E27FC236}">
                  <a16:creationId xmlns:a16="http://schemas.microsoft.com/office/drawing/2014/main" id="{D10D7305-AD1E-4494-8D5C-B36621683E95}"/>
                </a:ext>
              </a:extLst>
            </p:cNvPr>
            <p:cNvSpPr/>
            <p:nvPr userDrawn="1"/>
          </p:nvSpPr>
          <p:spPr>
            <a:xfrm flipH="1">
              <a:off x="10647705" y="4699501"/>
              <a:ext cx="620696" cy="619663"/>
            </a:xfrm>
            <a:custGeom>
              <a:avLst/>
              <a:gdLst>
                <a:gd name="connsiteX0" fmla="*/ 342900 w 342900"/>
                <a:gd name="connsiteY0" fmla="*/ 0 h 342329"/>
                <a:gd name="connsiteX1" fmla="*/ 342900 w 342900"/>
                <a:gd name="connsiteY1" fmla="*/ 0 h 342329"/>
                <a:gd name="connsiteX2" fmla="*/ 0 w 342900"/>
                <a:gd name="connsiteY2" fmla="*/ 341758 h 342329"/>
                <a:gd name="connsiteX3" fmla="*/ 0 w 342900"/>
                <a:gd name="connsiteY3" fmla="*/ 342329 h 342329"/>
                <a:gd name="connsiteX4" fmla="*/ 0 w 342900"/>
                <a:gd name="connsiteY4" fmla="*/ 342329 h 342329"/>
                <a:gd name="connsiteX5" fmla="*/ 342900 w 342900"/>
                <a:gd name="connsiteY5" fmla="*/ 0 h 342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900" h="342329">
                  <a:moveTo>
                    <a:pt x="342900" y="0"/>
                  </a:moveTo>
                  <a:lnTo>
                    <a:pt x="342900" y="0"/>
                  </a:lnTo>
                  <a:cubicBezTo>
                    <a:pt x="153838" y="-314"/>
                    <a:pt x="314" y="152696"/>
                    <a:pt x="0" y="341758"/>
                  </a:cubicBezTo>
                  <a:cubicBezTo>
                    <a:pt x="0" y="341948"/>
                    <a:pt x="0" y="342138"/>
                    <a:pt x="0" y="342329"/>
                  </a:cubicBezTo>
                  <a:lnTo>
                    <a:pt x="0" y="342329"/>
                  </a:lnTo>
                  <a:cubicBezTo>
                    <a:pt x="189157" y="342329"/>
                    <a:pt x="342586" y="189158"/>
                    <a:pt x="342900" y="0"/>
                  </a:cubicBezTo>
                </a:path>
              </a:pathLst>
            </a:custGeom>
            <a:solidFill>
              <a:schemeClr val="bg1">
                <a:alpha val="6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2" name="Freeform: Shape 171">
              <a:extLst>
                <a:ext uri="{FF2B5EF4-FFF2-40B4-BE49-F238E27FC236}">
                  <a16:creationId xmlns:a16="http://schemas.microsoft.com/office/drawing/2014/main" id="{A8BC0B77-DA9D-4CBD-A860-D05C12846EE6}"/>
                </a:ext>
              </a:extLst>
            </p:cNvPr>
            <p:cNvSpPr/>
            <p:nvPr userDrawn="1"/>
          </p:nvSpPr>
          <p:spPr>
            <a:xfrm flipH="1">
              <a:off x="10646843" y="4079667"/>
              <a:ext cx="620696" cy="620696"/>
            </a:xfrm>
            <a:custGeom>
              <a:avLst/>
              <a:gdLst>
                <a:gd name="connsiteX0" fmla="*/ 0 w 342900"/>
                <a:gd name="connsiteY0" fmla="*/ 0 h 342900"/>
                <a:gd name="connsiteX1" fmla="*/ 0 w 342900"/>
                <a:gd name="connsiteY1" fmla="*/ 0 h 342900"/>
                <a:gd name="connsiteX2" fmla="*/ 342900 w 342900"/>
                <a:gd name="connsiteY2" fmla="*/ 342900 h 342900"/>
                <a:gd name="connsiteX3" fmla="*/ 342900 w 342900"/>
                <a:gd name="connsiteY3" fmla="*/ 342900 h 342900"/>
                <a:gd name="connsiteX4" fmla="*/ 0 w 342900"/>
                <a:gd name="connsiteY4" fmla="*/ 1143 h 342900"/>
                <a:gd name="connsiteX5" fmla="*/ 0 w 342900"/>
                <a:gd name="connsiteY5" fmla="*/ 0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900" h="342900">
                  <a:moveTo>
                    <a:pt x="0" y="0"/>
                  </a:moveTo>
                  <a:lnTo>
                    <a:pt x="0" y="0"/>
                  </a:lnTo>
                  <a:cubicBezTo>
                    <a:pt x="189376" y="0"/>
                    <a:pt x="342900" y="153524"/>
                    <a:pt x="342900" y="342900"/>
                  </a:cubicBezTo>
                  <a:lnTo>
                    <a:pt x="342900" y="342900"/>
                  </a:lnTo>
                  <a:cubicBezTo>
                    <a:pt x="153838" y="343215"/>
                    <a:pt x="314" y="190205"/>
                    <a:pt x="0" y="1143"/>
                  </a:cubicBezTo>
                  <a:cubicBezTo>
                    <a:pt x="0" y="762"/>
                    <a:pt x="0" y="381"/>
                    <a:pt x="0" y="0"/>
                  </a:cubicBezTo>
                </a:path>
              </a:pathLst>
            </a:custGeom>
            <a:solidFill>
              <a:schemeClr val="bg1">
                <a:alpha val="6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3" name="Freeform: Shape 172">
              <a:extLst>
                <a:ext uri="{FF2B5EF4-FFF2-40B4-BE49-F238E27FC236}">
                  <a16:creationId xmlns:a16="http://schemas.microsoft.com/office/drawing/2014/main" id="{58F5CE70-EFB6-4551-878A-FFC39327F69B}"/>
                </a:ext>
              </a:extLst>
            </p:cNvPr>
            <p:cNvSpPr/>
            <p:nvPr userDrawn="1"/>
          </p:nvSpPr>
          <p:spPr>
            <a:xfrm flipH="1">
              <a:off x="8788549" y="4699330"/>
              <a:ext cx="619661" cy="619661"/>
            </a:xfrm>
            <a:custGeom>
              <a:avLst/>
              <a:gdLst>
                <a:gd name="connsiteX0" fmla="*/ 0 w 342328"/>
                <a:gd name="connsiteY0" fmla="*/ 95 h 342328"/>
                <a:gd name="connsiteX1" fmla="*/ 0 w 342328"/>
                <a:gd name="connsiteY1" fmla="*/ 95 h 342328"/>
                <a:gd name="connsiteX2" fmla="*/ 342329 w 342328"/>
                <a:gd name="connsiteY2" fmla="*/ 342329 h 342328"/>
                <a:gd name="connsiteX3" fmla="*/ 342329 w 342328"/>
                <a:gd name="connsiteY3" fmla="*/ 342329 h 342328"/>
                <a:gd name="connsiteX4" fmla="*/ 0 w 342328"/>
                <a:gd name="connsiteY4" fmla="*/ 0 h 34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28" h="342328">
                  <a:moveTo>
                    <a:pt x="0" y="95"/>
                  </a:moveTo>
                  <a:lnTo>
                    <a:pt x="0" y="95"/>
                  </a:lnTo>
                  <a:cubicBezTo>
                    <a:pt x="189024" y="95"/>
                    <a:pt x="342271" y="153305"/>
                    <a:pt x="342329" y="342329"/>
                  </a:cubicBezTo>
                  <a:lnTo>
                    <a:pt x="342329" y="342329"/>
                  </a:lnTo>
                  <a:cubicBezTo>
                    <a:pt x="153267" y="342329"/>
                    <a:pt x="0" y="189062"/>
                    <a:pt x="0" y="0"/>
                  </a:cubicBezTo>
                </a:path>
              </a:pathLst>
            </a:custGeom>
            <a:solidFill>
              <a:schemeClr val="bg1">
                <a:alpha val="6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4" name="Freeform: Shape 173">
              <a:extLst>
                <a:ext uri="{FF2B5EF4-FFF2-40B4-BE49-F238E27FC236}">
                  <a16:creationId xmlns:a16="http://schemas.microsoft.com/office/drawing/2014/main" id="{3027B6C4-7DC9-4744-9BD9-3D7B64385EA6}"/>
                </a:ext>
              </a:extLst>
            </p:cNvPr>
            <p:cNvSpPr/>
            <p:nvPr userDrawn="1"/>
          </p:nvSpPr>
          <p:spPr>
            <a:xfrm flipH="1">
              <a:off x="7549054" y="4079667"/>
              <a:ext cx="619661" cy="620696"/>
            </a:xfrm>
            <a:custGeom>
              <a:avLst/>
              <a:gdLst>
                <a:gd name="connsiteX0" fmla="*/ 342329 w 342328"/>
                <a:gd name="connsiteY0" fmla="*/ 0 h 342900"/>
                <a:gd name="connsiteX1" fmla="*/ 342329 w 342328"/>
                <a:gd name="connsiteY1" fmla="*/ 0 h 342900"/>
                <a:gd name="connsiteX2" fmla="*/ 0 w 342328"/>
                <a:gd name="connsiteY2" fmla="*/ 342900 h 342900"/>
                <a:gd name="connsiteX3" fmla="*/ 0 w 342328"/>
                <a:gd name="connsiteY3" fmla="*/ 342900 h 342900"/>
                <a:gd name="connsiteX4" fmla="*/ 342329 w 342328"/>
                <a:gd name="connsiteY4" fmla="*/ 571 h 342900"/>
                <a:gd name="connsiteX5" fmla="*/ 342329 w 342328"/>
                <a:gd name="connsiteY5" fmla="*/ 0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328" h="342900">
                  <a:moveTo>
                    <a:pt x="342329" y="0"/>
                  </a:moveTo>
                  <a:lnTo>
                    <a:pt x="342329" y="0"/>
                  </a:lnTo>
                  <a:cubicBezTo>
                    <a:pt x="153171" y="315"/>
                    <a:pt x="0" y="153743"/>
                    <a:pt x="0" y="342900"/>
                  </a:cubicBezTo>
                  <a:lnTo>
                    <a:pt x="0" y="342900"/>
                  </a:lnTo>
                  <a:cubicBezTo>
                    <a:pt x="189062" y="342900"/>
                    <a:pt x="342329" y="189633"/>
                    <a:pt x="342329" y="571"/>
                  </a:cubicBezTo>
                  <a:cubicBezTo>
                    <a:pt x="342329" y="381"/>
                    <a:pt x="342329" y="191"/>
                    <a:pt x="342329" y="0"/>
                  </a:cubicBezTo>
                </a:path>
              </a:pathLst>
            </a:custGeom>
            <a:solidFill>
              <a:schemeClr val="bg1">
                <a:alpha val="6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5" name="Freeform: Shape 174">
              <a:extLst>
                <a:ext uri="{FF2B5EF4-FFF2-40B4-BE49-F238E27FC236}">
                  <a16:creationId xmlns:a16="http://schemas.microsoft.com/office/drawing/2014/main" id="{3D22171E-0608-4B9F-A2F3-CA7C6D14EDC5}"/>
                </a:ext>
              </a:extLst>
            </p:cNvPr>
            <p:cNvSpPr/>
            <p:nvPr userDrawn="1"/>
          </p:nvSpPr>
          <p:spPr>
            <a:xfrm flipH="1">
              <a:off x="6929217" y="4699501"/>
              <a:ext cx="620696" cy="619663"/>
            </a:xfrm>
            <a:custGeom>
              <a:avLst/>
              <a:gdLst>
                <a:gd name="connsiteX0" fmla="*/ 342900 w 342900"/>
                <a:gd name="connsiteY0" fmla="*/ 0 h 342329"/>
                <a:gd name="connsiteX1" fmla="*/ 342900 w 342900"/>
                <a:gd name="connsiteY1" fmla="*/ 0 h 342329"/>
                <a:gd name="connsiteX2" fmla="*/ 0 w 342900"/>
                <a:gd name="connsiteY2" fmla="*/ 341758 h 342329"/>
                <a:gd name="connsiteX3" fmla="*/ 0 w 342900"/>
                <a:gd name="connsiteY3" fmla="*/ 342329 h 342329"/>
                <a:gd name="connsiteX4" fmla="*/ 0 w 342900"/>
                <a:gd name="connsiteY4" fmla="*/ 342329 h 342329"/>
                <a:gd name="connsiteX5" fmla="*/ 342900 w 342900"/>
                <a:gd name="connsiteY5" fmla="*/ 0 h 342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900" h="342329">
                  <a:moveTo>
                    <a:pt x="342900" y="0"/>
                  </a:moveTo>
                  <a:lnTo>
                    <a:pt x="342900" y="0"/>
                  </a:lnTo>
                  <a:cubicBezTo>
                    <a:pt x="153838" y="-314"/>
                    <a:pt x="314" y="152696"/>
                    <a:pt x="0" y="341758"/>
                  </a:cubicBezTo>
                  <a:cubicBezTo>
                    <a:pt x="0" y="341948"/>
                    <a:pt x="0" y="342138"/>
                    <a:pt x="0" y="342329"/>
                  </a:cubicBezTo>
                  <a:lnTo>
                    <a:pt x="0" y="342329"/>
                  </a:lnTo>
                  <a:cubicBezTo>
                    <a:pt x="189157" y="342329"/>
                    <a:pt x="342585" y="189158"/>
                    <a:pt x="342900" y="0"/>
                  </a:cubicBezTo>
                </a:path>
              </a:pathLst>
            </a:custGeom>
            <a:solidFill>
              <a:schemeClr val="bg1">
                <a:alpha val="6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6" name="Freeform: Shape 175">
              <a:extLst>
                <a:ext uri="{FF2B5EF4-FFF2-40B4-BE49-F238E27FC236}">
                  <a16:creationId xmlns:a16="http://schemas.microsoft.com/office/drawing/2014/main" id="{2FE9A7AE-D9C4-4CF4-AED1-33CD618AA0C5}"/>
                </a:ext>
              </a:extLst>
            </p:cNvPr>
            <p:cNvSpPr/>
            <p:nvPr userDrawn="1"/>
          </p:nvSpPr>
          <p:spPr>
            <a:xfrm flipH="1">
              <a:off x="6928356" y="4079667"/>
              <a:ext cx="620696" cy="620696"/>
            </a:xfrm>
            <a:custGeom>
              <a:avLst/>
              <a:gdLst>
                <a:gd name="connsiteX0" fmla="*/ 0 w 342900"/>
                <a:gd name="connsiteY0" fmla="*/ 0 h 342900"/>
                <a:gd name="connsiteX1" fmla="*/ 0 w 342900"/>
                <a:gd name="connsiteY1" fmla="*/ 0 h 342900"/>
                <a:gd name="connsiteX2" fmla="*/ 342900 w 342900"/>
                <a:gd name="connsiteY2" fmla="*/ 342900 h 342900"/>
                <a:gd name="connsiteX3" fmla="*/ 342900 w 342900"/>
                <a:gd name="connsiteY3" fmla="*/ 342900 h 342900"/>
                <a:gd name="connsiteX4" fmla="*/ 0 w 342900"/>
                <a:gd name="connsiteY4" fmla="*/ 1143 h 342900"/>
                <a:gd name="connsiteX5" fmla="*/ 0 w 342900"/>
                <a:gd name="connsiteY5" fmla="*/ 0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900" h="342900">
                  <a:moveTo>
                    <a:pt x="0" y="0"/>
                  </a:moveTo>
                  <a:lnTo>
                    <a:pt x="0" y="0"/>
                  </a:lnTo>
                  <a:cubicBezTo>
                    <a:pt x="189376" y="0"/>
                    <a:pt x="342900" y="153524"/>
                    <a:pt x="342900" y="342900"/>
                  </a:cubicBezTo>
                  <a:lnTo>
                    <a:pt x="342900" y="342900"/>
                  </a:lnTo>
                  <a:cubicBezTo>
                    <a:pt x="153838" y="343215"/>
                    <a:pt x="314" y="190205"/>
                    <a:pt x="0" y="1143"/>
                  </a:cubicBezTo>
                  <a:cubicBezTo>
                    <a:pt x="0" y="762"/>
                    <a:pt x="0" y="381"/>
                    <a:pt x="0" y="0"/>
                  </a:cubicBezTo>
                </a:path>
              </a:pathLst>
            </a:custGeom>
            <a:solidFill>
              <a:schemeClr val="bg1">
                <a:alpha val="6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7" name="Freeform: Shape 176">
              <a:extLst>
                <a:ext uri="{FF2B5EF4-FFF2-40B4-BE49-F238E27FC236}">
                  <a16:creationId xmlns:a16="http://schemas.microsoft.com/office/drawing/2014/main" id="{CCEDB970-6416-4CFF-A366-BB54A4FBC344}"/>
                </a:ext>
              </a:extLst>
            </p:cNvPr>
            <p:cNvSpPr/>
            <p:nvPr userDrawn="1"/>
          </p:nvSpPr>
          <p:spPr>
            <a:xfrm flipH="1">
              <a:off x="11267539" y="3460006"/>
              <a:ext cx="619661" cy="619661"/>
            </a:xfrm>
            <a:custGeom>
              <a:avLst/>
              <a:gdLst>
                <a:gd name="connsiteX0" fmla="*/ 0 w 342328"/>
                <a:gd name="connsiteY0" fmla="*/ 0 h 342328"/>
                <a:gd name="connsiteX1" fmla="*/ 0 w 342328"/>
                <a:gd name="connsiteY1" fmla="*/ 0 h 342328"/>
                <a:gd name="connsiteX2" fmla="*/ 342329 w 342328"/>
                <a:gd name="connsiteY2" fmla="*/ 342329 h 342328"/>
                <a:gd name="connsiteX3" fmla="*/ 342329 w 342328"/>
                <a:gd name="connsiteY3" fmla="*/ 342329 h 342328"/>
                <a:gd name="connsiteX4" fmla="*/ 0 w 342328"/>
                <a:gd name="connsiteY4" fmla="*/ 0 h 34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28" h="342328">
                  <a:moveTo>
                    <a:pt x="0" y="0"/>
                  </a:moveTo>
                  <a:lnTo>
                    <a:pt x="0" y="0"/>
                  </a:lnTo>
                  <a:cubicBezTo>
                    <a:pt x="189062" y="0"/>
                    <a:pt x="342329" y="153267"/>
                    <a:pt x="342329" y="342329"/>
                  </a:cubicBezTo>
                  <a:lnTo>
                    <a:pt x="342329" y="342329"/>
                  </a:lnTo>
                  <a:cubicBezTo>
                    <a:pt x="153267" y="342329"/>
                    <a:pt x="0" y="189062"/>
                    <a:pt x="0" y="0"/>
                  </a:cubicBezTo>
                </a:path>
              </a:pathLst>
            </a:custGeom>
            <a:solidFill>
              <a:schemeClr val="bg1">
                <a:alpha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8" name="Freeform: Shape 177">
              <a:extLst>
                <a:ext uri="{FF2B5EF4-FFF2-40B4-BE49-F238E27FC236}">
                  <a16:creationId xmlns:a16="http://schemas.microsoft.com/office/drawing/2014/main" id="{FE827183-4227-43B1-B46B-181B78A53032}"/>
                </a:ext>
              </a:extLst>
            </p:cNvPr>
            <p:cNvSpPr/>
            <p:nvPr userDrawn="1"/>
          </p:nvSpPr>
          <p:spPr>
            <a:xfrm flipH="1">
              <a:off x="10647705" y="3460004"/>
              <a:ext cx="620696" cy="619663"/>
            </a:xfrm>
            <a:custGeom>
              <a:avLst/>
              <a:gdLst>
                <a:gd name="connsiteX0" fmla="*/ 342900 w 342900"/>
                <a:gd name="connsiteY0" fmla="*/ 0 h 342329"/>
                <a:gd name="connsiteX1" fmla="*/ 342900 w 342900"/>
                <a:gd name="connsiteY1" fmla="*/ 0 h 342329"/>
                <a:gd name="connsiteX2" fmla="*/ 0 w 342900"/>
                <a:gd name="connsiteY2" fmla="*/ 341758 h 342329"/>
                <a:gd name="connsiteX3" fmla="*/ 0 w 342900"/>
                <a:gd name="connsiteY3" fmla="*/ 342329 h 342329"/>
                <a:gd name="connsiteX4" fmla="*/ 0 w 342900"/>
                <a:gd name="connsiteY4" fmla="*/ 342329 h 342329"/>
                <a:gd name="connsiteX5" fmla="*/ 342900 w 342900"/>
                <a:gd name="connsiteY5" fmla="*/ 0 h 342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900" h="342329">
                  <a:moveTo>
                    <a:pt x="342900" y="0"/>
                  </a:moveTo>
                  <a:lnTo>
                    <a:pt x="342900" y="0"/>
                  </a:lnTo>
                  <a:cubicBezTo>
                    <a:pt x="153838" y="-314"/>
                    <a:pt x="314" y="152696"/>
                    <a:pt x="0" y="341758"/>
                  </a:cubicBezTo>
                  <a:cubicBezTo>
                    <a:pt x="0" y="341948"/>
                    <a:pt x="0" y="342138"/>
                    <a:pt x="0" y="342329"/>
                  </a:cubicBezTo>
                  <a:lnTo>
                    <a:pt x="0" y="342329"/>
                  </a:lnTo>
                  <a:cubicBezTo>
                    <a:pt x="189157" y="342329"/>
                    <a:pt x="342586" y="189158"/>
                    <a:pt x="342900" y="0"/>
                  </a:cubicBezTo>
                </a:path>
              </a:pathLst>
            </a:custGeom>
            <a:solidFill>
              <a:schemeClr val="bg1">
                <a:alpha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9" name="Freeform: Shape 178">
              <a:extLst>
                <a:ext uri="{FF2B5EF4-FFF2-40B4-BE49-F238E27FC236}">
                  <a16:creationId xmlns:a16="http://schemas.microsoft.com/office/drawing/2014/main" id="{E0CBF8E1-2A78-4655-A7B8-19B4BA47A91F}"/>
                </a:ext>
              </a:extLst>
            </p:cNvPr>
            <p:cNvSpPr/>
            <p:nvPr userDrawn="1"/>
          </p:nvSpPr>
          <p:spPr>
            <a:xfrm flipH="1">
              <a:off x="10028044" y="3460006"/>
              <a:ext cx="619661" cy="619661"/>
            </a:xfrm>
            <a:custGeom>
              <a:avLst/>
              <a:gdLst>
                <a:gd name="connsiteX0" fmla="*/ 0 w 342328"/>
                <a:gd name="connsiteY0" fmla="*/ 0 h 342328"/>
                <a:gd name="connsiteX1" fmla="*/ 0 w 342328"/>
                <a:gd name="connsiteY1" fmla="*/ 0 h 342328"/>
                <a:gd name="connsiteX2" fmla="*/ 342329 w 342328"/>
                <a:gd name="connsiteY2" fmla="*/ 342329 h 342328"/>
                <a:gd name="connsiteX3" fmla="*/ 342329 w 342328"/>
                <a:gd name="connsiteY3" fmla="*/ 342329 h 342328"/>
                <a:gd name="connsiteX4" fmla="*/ 0 w 342328"/>
                <a:gd name="connsiteY4" fmla="*/ 0 h 34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28" h="342328">
                  <a:moveTo>
                    <a:pt x="0" y="0"/>
                  </a:moveTo>
                  <a:lnTo>
                    <a:pt x="0" y="0"/>
                  </a:lnTo>
                  <a:cubicBezTo>
                    <a:pt x="189062" y="0"/>
                    <a:pt x="342329" y="153267"/>
                    <a:pt x="342329" y="342329"/>
                  </a:cubicBezTo>
                  <a:lnTo>
                    <a:pt x="342329" y="342329"/>
                  </a:lnTo>
                  <a:cubicBezTo>
                    <a:pt x="153267" y="342329"/>
                    <a:pt x="0" y="189062"/>
                    <a:pt x="0" y="0"/>
                  </a:cubicBezTo>
                </a:path>
              </a:pathLst>
            </a:custGeom>
            <a:solidFill>
              <a:schemeClr val="bg1">
                <a:alpha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0" name="Freeform: Shape 179">
              <a:extLst>
                <a:ext uri="{FF2B5EF4-FFF2-40B4-BE49-F238E27FC236}">
                  <a16:creationId xmlns:a16="http://schemas.microsoft.com/office/drawing/2014/main" id="{061F7913-A885-4B4F-A75E-97848C336B5E}"/>
                </a:ext>
              </a:extLst>
            </p:cNvPr>
            <p:cNvSpPr/>
            <p:nvPr userDrawn="1"/>
          </p:nvSpPr>
          <p:spPr>
            <a:xfrm flipH="1">
              <a:off x="9408212" y="3460006"/>
              <a:ext cx="619833" cy="619661"/>
            </a:xfrm>
            <a:custGeom>
              <a:avLst/>
              <a:gdLst>
                <a:gd name="connsiteX0" fmla="*/ 342424 w 342423"/>
                <a:gd name="connsiteY0" fmla="*/ 0 h 342328"/>
                <a:gd name="connsiteX1" fmla="*/ 342424 w 342423"/>
                <a:gd name="connsiteY1" fmla="*/ 0 h 342328"/>
                <a:gd name="connsiteX2" fmla="*/ 0 w 342423"/>
                <a:gd name="connsiteY2" fmla="*/ 342233 h 342328"/>
                <a:gd name="connsiteX3" fmla="*/ 0 w 342423"/>
                <a:gd name="connsiteY3" fmla="*/ 342329 h 342328"/>
                <a:gd name="connsiteX4" fmla="*/ 0 w 342423"/>
                <a:gd name="connsiteY4" fmla="*/ 342329 h 342328"/>
                <a:gd name="connsiteX5" fmla="*/ 342424 w 342423"/>
                <a:gd name="connsiteY5" fmla="*/ 0 h 34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423" h="342328">
                  <a:moveTo>
                    <a:pt x="342424" y="0"/>
                  </a:moveTo>
                  <a:lnTo>
                    <a:pt x="342424" y="0"/>
                  </a:lnTo>
                  <a:cubicBezTo>
                    <a:pt x="153362" y="-57"/>
                    <a:pt x="57" y="153171"/>
                    <a:pt x="0" y="342233"/>
                  </a:cubicBezTo>
                  <a:cubicBezTo>
                    <a:pt x="0" y="342262"/>
                    <a:pt x="0" y="342300"/>
                    <a:pt x="0" y="342329"/>
                  </a:cubicBezTo>
                  <a:lnTo>
                    <a:pt x="0" y="342329"/>
                  </a:lnTo>
                  <a:cubicBezTo>
                    <a:pt x="188966" y="342062"/>
                    <a:pt x="342109" y="188966"/>
                    <a:pt x="342424" y="0"/>
                  </a:cubicBezTo>
                </a:path>
              </a:pathLst>
            </a:custGeom>
            <a:solidFill>
              <a:schemeClr val="bg1">
                <a:alpha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1" name="Freeform: Shape 180">
              <a:extLst>
                <a:ext uri="{FF2B5EF4-FFF2-40B4-BE49-F238E27FC236}">
                  <a16:creationId xmlns:a16="http://schemas.microsoft.com/office/drawing/2014/main" id="{3D57C37F-E6FA-48B9-A3D1-67FE4289069A}"/>
                </a:ext>
              </a:extLst>
            </p:cNvPr>
            <p:cNvSpPr/>
            <p:nvPr userDrawn="1"/>
          </p:nvSpPr>
          <p:spPr>
            <a:xfrm flipH="1">
              <a:off x="8788549" y="3460006"/>
              <a:ext cx="619661" cy="619661"/>
            </a:xfrm>
            <a:custGeom>
              <a:avLst/>
              <a:gdLst>
                <a:gd name="connsiteX0" fmla="*/ 0 w 342328"/>
                <a:gd name="connsiteY0" fmla="*/ 0 h 342328"/>
                <a:gd name="connsiteX1" fmla="*/ 0 w 342328"/>
                <a:gd name="connsiteY1" fmla="*/ 0 h 342328"/>
                <a:gd name="connsiteX2" fmla="*/ 342329 w 342328"/>
                <a:gd name="connsiteY2" fmla="*/ 342329 h 342328"/>
                <a:gd name="connsiteX3" fmla="*/ 342329 w 342328"/>
                <a:gd name="connsiteY3" fmla="*/ 342329 h 342328"/>
                <a:gd name="connsiteX4" fmla="*/ 0 w 342328"/>
                <a:gd name="connsiteY4" fmla="*/ 0 h 34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28" h="342328">
                  <a:moveTo>
                    <a:pt x="0" y="0"/>
                  </a:moveTo>
                  <a:lnTo>
                    <a:pt x="0" y="0"/>
                  </a:lnTo>
                  <a:cubicBezTo>
                    <a:pt x="189062" y="0"/>
                    <a:pt x="342329" y="153267"/>
                    <a:pt x="342329" y="342329"/>
                  </a:cubicBezTo>
                  <a:lnTo>
                    <a:pt x="342329" y="342329"/>
                  </a:lnTo>
                  <a:cubicBezTo>
                    <a:pt x="153267" y="342329"/>
                    <a:pt x="0" y="189062"/>
                    <a:pt x="0" y="0"/>
                  </a:cubicBezTo>
                </a:path>
              </a:pathLst>
            </a:custGeom>
            <a:solidFill>
              <a:schemeClr val="bg1">
                <a:alpha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2" name="Freeform: Shape 181">
              <a:extLst>
                <a:ext uri="{FF2B5EF4-FFF2-40B4-BE49-F238E27FC236}">
                  <a16:creationId xmlns:a16="http://schemas.microsoft.com/office/drawing/2014/main" id="{6C21C567-3405-44C2-8ACD-17E004A8172A}"/>
                </a:ext>
              </a:extLst>
            </p:cNvPr>
            <p:cNvSpPr/>
            <p:nvPr userDrawn="1"/>
          </p:nvSpPr>
          <p:spPr>
            <a:xfrm flipH="1">
              <a:off x="6309557" y="3460006"/>
              <a:ext cx="619661" cy="619661"/>
            </a:xfrm>
            <a:custGeom>
              <a:avLst/>
              <a:gdLst>
                <a:gd name="connsiteX0" fmla="*/ 0 w 342328"/>
                <a:gd name="connsiteY0" fmla="*/ 0 h 342328"/>
                <a:gd name="connsiteX1" fmla="*/ 0 w 342328"/>
                <a:gd name="connsiteY1" fmla="*/ 0 h 342328"/>
                <a:gd name="connsiteX2" fmla="*/ 342329 w 342328"/>
                <a:gd name="connsiteY2" fmla="*/ 342329 h 342328"/>
                <a:gd name="connsiteX3" fmla="*/ 342329 w 342328"/>
                <a:gd name="connsiteY3" fmla="*/ 342329 h 342328"/>
                <a:gd name="connsiteX4" fmla="*/ 0 w 342328"/>
                <a:gd name="connsiteY4" fmla="*/ 0 h 34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28" h="342328">
                  <a:moveTo>
                    <a:pt x="0" y="0"/>
                  </a:moveTo>
                  <a:lnTo>
                    <a:pt x="0" y="0"/>
                  </a:lnTo>
                  <a:cubicBezTo>
                    <a:pt x="189062" y="0"/>
                    <a:pt x="342329" y="153267"/>
                    <a:pt x="342329" y="342329"/>
                  </a:cubicBezTo>
                  <a:lnTo>
                    <a:pt x="342329" y="342329"/>
                  </a:lnTo>
                  <a:cubicBezTo>
                    <a:pt x="153267" y="342329"/>
                    <a:pt x="0" y="189062"/>
                    <a:pt x="0" y="0"/>
                  </a:cubicBezTo>
                </a:path>
              </a:pathLst>
            </a:custGeom>
            <a:solidFill>
              <a:schemeClr val="bg1">
                <a:alpha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3" name="Freeform: Shape 182">
              <a:extLst>
                <a:ext uri="{FF2B5EF4-FFF2-40B4-BE49-F238E27FC236}">
                  <a16:creationId xmlns:a16="http://schemas.microsoft.com/office/drawing/2014/main" id="{B52F287C-9596-403E-B798-D3368B92A790}"/>
                </a:ext>
              </a:extLst>
            </p:cNvPr>
            <p:cNvSpPr/>
            <p:nvPr userDrawn="1"/>
          </p:nvSpPr>
          <p:spPr>
            <a:xfrm flipH="1">
              <a:off x="6309557" y="2840172"/>
              <a:ext cx="619661" cy="619833"/>
            </a:xfrm>
            <a:custGeom>
              <a:avLst/>
              <a:gdLst>
                <a:gd name="connsiteX0" fmla="*/ 342329 w 342328"/>
                <a:gd name="connsiteY0" fmla="*/ 0 h 342423"/>
                <a:gd name="connsiteX1" fmla="*/ 342329 w 342328"/>
                <a:gd name="connsiteY1" fmla="*/ 0 h 342423"/>
                <a:gd name="connsiteX2" fmla="*/ 0 w 342328"/>
                <a:gd name="connsiteY2" fmla="*/ 342328 h 342423"/>
                <a:gd name="connsiteX3" fmla="*/ 0 w 342328"/>
                <a:gd name="connsiteY3" fmla="*/ 342424 h 342423"/>
                <a:gd name="connsiteX4" fmla="*/ 0 w 342328"/>
                <a:gd name="connsiteY4" fmla="*/ 342424 h 342423"/>
                <a:gd name="connsiteX5" fmla="*/ 342329 w 342328"/>
                <a:gd name="connsiteY5" fmla="*/ 0 h 342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328" h="342423">
                  <a:moveTo>
                    <a:pt x="342329" y="0"/>
                  </a:moveTo>
                  <a:lnTo>
                    <a:pt x="342329" y="0"/>
                  </a:lnTo>
                  <a:cubicBezTo>
                    <a:pt x="153267" y="0"/>
                    <a:pt x="0" y="153267"/>
                    <a:pt x="0" y="342328"/>
                  </a:cubicBezTo>
                  <a:cubicBezTo>
                    <a:pt x="0" y="342357"/>
                    <a:pt x="0" y="342395"/>
                    <a:pt x="0" y="342424"/>
                  </a:cubicBezTo>
                  <a:lnTo>
                    <a:pt x="0" y="342424"/>
                  </a:lnTo>
                  <a:cubicBezTo>
                    <a:pt x="188966" y="342109"/>
                    <a:pt x="342062" y="188966"/>
                    <a:pt x="342329" y="0"/>
                  </a:cubicBezTo>
                </a:path>
              </a:pathLst>
            </a:custGeom>
            <a:solidFill>
              <a:schemeClr val="bg1">
                <a:alpha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4" name="Freeform: Shape 183">
              <a:extLst>
                <a:ext uri="{FF2B5EF4-FFF2-40B4-BE49-F238E27FC236}">
                  <a16:creationId xmlns:a16="http://schemas.microsoft.com/office/drawing/2014/main" id="{6B11DC6D-19FC-46F0-B4E2-0BC728D1CCF2}"/>
                </a:ext>
              </a:extLst>
            </p:cNvPr>
            <p:cNvSpPr/>
            <p:nvPr userDrawn="1"/>
          </p:nvSpPr>
          <p:spPr>
            <a:xfrm flipH="1">
              <a:off x="5689724" y="2840172"/>
              <a:ext cx="619833" cy="619833"/>
            </a:xfrm>
            <a:custGeom>
              <a:avLst/>
              <a:gdLst>
                <a:gd name="connsiteX0" fmla="*/ 0 w 342423"/>
                <a:gd name="connsiteY0" fmla="*/ 0 h 342423"/>
                <a:gd name="connsiteX1" fmla="*/ 0 w 342423"/>
                <a:gd name="connsiteY1" fmla="*/ 0 h 342423"/>
                <a:gd name="connsiteX2" fmla="*/ 342424 w 342423"/>
                <a:gd name="connsiteY2" fmla="*/ 342424 h 342423"/>
                <a:gd name="connsiteX3" fmla="*/ 342424 w 342423"/>
                <a:gd name="connsiteY3" fmla="*/ 342424 h 342423"/>
                <a:gd name="connsiteX4" fmla="*/ 0 w 342423"/>
                <a:gd name="connsiteY4" fmla="*/ 0 h 342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423" h="342423">
                  <a:moveTo>
                    <a:pt x="0" y="0"/>
                  </a:moveTo>
                  <a:lnTo>
                    <a:pt x="0" y="0"/>
                  </a:lnTo>
                  <a:cubicBezTo>
                    <a:pt x="189004" y="267"/>
                    <a:pt x="342157" y="153419"/>
                    <a:pt x="342424" y="342424"/>
                  </a:cubicBezTo>
                  <a:lnTo>
                    <a:pt x="342424" y="342424"/>
                  </a:lnTo>
                  <a:cubicBezTo>
                    <a:pt x="153419" y="342157"/>
                    <a:pt x="267" y="189004"/>
                    <a:pt x="0" y="0"/>
                  </a:cubicBezTo>
                </a:path>
              </a:pathLst>
            </a:custGeom>
            <a:solidFill>
              <a:schemeClr val="bg1">
                <a:alpha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32306185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in" preserve="1">
  <p:cSld name="Plain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35"/>
          <p:cNvSpPr txBox="1">
            <a:spLocks noGrp="1"/>
          </p:cNvSpPr>
          <p:nvPr>
            <p:ph type="sldNum" idx="12"/>
          </p:nvPr>
        </p:nvSpPr>
        <p:spPr>
          <a:xfrm>
            <a:off x="10512506" y="375991"/>
            <a:ext cx="1259824" cy="20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" name="Google Shape;40;p32">
            <a:extLst>
              <a:ext uri="{FF2B5EF4-FFF2-40B4-BE49-F238E27FC236}">
                <a16:creationId xmlns:a16="http://schemas.microsoft.com/office/drawing/2014/main" id="{701B8911-2A61-9AC3-6AA2-15CC414CE094}"/>
              </a:ext>
            </a:extLst>
          </p:cNvPr>
          <p:cNvSpPr txBox="1"/>
          <p:nvPr userDrawn="1"/>
        </p:nvSpPr>
        <p:spPr>
          <a:xfrm>
            <a:off x="516835" y="6334236"/>
            <a:ext cx="3550340" cy="2974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None/>
            </a:pPr>
            <a:r>
              <a:rPr lang="ru-RU" sz="12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ЗоРРО</a:t>
            </a:r>
            <a:r>
              <a:rPr lang="ru-RU" sz="1200" b="1" i="0" u="none" strike="noStrike" cap="none" baseline="30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® </a:t>
            </a:r>
            <a:r>
              <a:rPr lang="en-US" sz="12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024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| Internal Use Only</a:t>
            </a:r>
            <a:endParaRPr b="0" dirty="0"/>
          </a:p>
        </p:txBody>
      </p:sp>
      <p:pic>
        <p:nvPicPr>
          <p:cNvPr id="3" name="Google Shape;53;p32">
            <a:extLst>
              <a:ext uri="{FF2B5EF4-FFF2-40B4-BE49-F238E27FC236}">
                <a16:creationId xmlns:a16="http://schemas.microsoft.com/office/drawing/2014/main" id="{9D635741-2748-2933-D880-16F4A6BCDFEE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0566400" y="6399249"/>
            <a:ext cx="1205930" cy="16552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4" name="Google Shape;54;p32">
            <a:extLst>
              <a:ext uri="{FF2B5EF4-FFF2-40B4-BE49-F238E27FC236}">
                <a16:creationId xmlns:a16="http://schemas.microsoft.com/office/drawing/2014/main" id="{32112634-9604-97E3-1BFE-476BB3F49E84}"/>
              </a:ext>
            </a:extLst>
          </p:cNvPr>
          <p:cNvCxnSpPr>
            <a:cxnSpLocks/>
          </p:cNvCxnSpPr>
          <p:nvPr userDrawn="1"/>
        </p:nvCxnSpPr>
        <p:spPr>
          <a:xfrm>
            <a:off x="3743325" y="6492239"/>
            <a:ext cx="6630035" cy="0"/>
          </a:xfrm>
          <a:prstGeom prst="straightConnector1">
            <a:avLst/>
          </a:prstGeom>
          <a:solidFill>
            <a:schemeClr val="accent2"/>
          </a:solidFill>
          <a:ln w="19050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88C1F826-DA07-12B4-8EB1-6BECF49BAFE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42926" y="397563"/>
            <a:ext cx="1573333" cy="418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878379"/>
      </p:ext>
    </p:extLst>
  </p:cSld>
  <p:clrMapOvr>
    <a:masterClrMapping/>
  </p:clrMapOvr>
  <p:transition>
    <p:wipe dir="r"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in" preserve="1" userDrawn="1">
  <p:cSld name="1_Plain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7749C87-F4BA-677B-05CF-ACD7FC7DB195}"/>
              </a:ext>
            </a:extLst>
          </p:cNvPr>
          <p:cNvSpPr/>
          <p:nvPr userDrawn="1"/>
        </p:nvSpPr>
        <p:spPr>
          <a:xfrm>
            <a:off x="-12334" y="0"/>
            <a:ext cx="12204333" cy="619476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Google Shape;75;p35"/>
          <p:cNvSpPr txBox="1">
            <a:spLocks noGrp="1"/>
          </p:cNvSpPr>
          <p:nvPr>
            <p:ph type="sldNum" idx="12"/>
          </p:nvPr>
        </p:nvSpPr>
        <p:spPr>
          <a:xfrm>
            <a:off x="10512506" y="375991"/>
            <a:ext cx="1259824" cy="20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" name="Google Shape;40;p32">
            <a:extLst>
              <a:ext uri="{FF2B5EF4-FFF2-40B4-BE49-F238E27FC236}">
                <a16:creationId xmlns:a16="http://schemas.microsoft.com/office/drawing/2014/main" id="{701B8911-2A61-9AC3-6AA2-15CC414CE094}"/>
              </a:ext>
            </a:extLst>
          </p:cNvPr>
          <p:cNvSpPr txBox="1"/>
          <p:nvPr userDrawn="1"/>
        </p:nvSpPr>
        <p:spPr>
          <a:xfrm>
            <a:off x="516835" y="6334236"/>
            <a:ext cx="3550340" cy="2974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None/>
            </a:pPr>
            <a:r>
              <a:rPr lang="ru-RU" sz="12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ЗоРРО</a:t>
            </a:r>
            <a:r>
              <a:rPr lang="ru-RU" sz="1200" b="1" i="0" u="none" strike="noStrike" cap="none" baseline="30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® </a:t>
            </a:r>
            <a:r>
              <a:rPr lang="de-CH" sz="1200" b="1" i="0" u="none" strike="noStrike" cap="none" baseline="30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2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024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| Internal Use Only</a:t>
            </a:r>
            <a:endParaRPr b="0" dirty="0"/>
          </a:p>
        </p:txBody>
      </p:sp>
      <p:pic>
        <p:nvPicPr>
          <p:cNvPr id="3" name="Google Shape;53;p32">
            <a:extLst>
              <a:ext uri="{FF2B5EF4-FFF2-40B4-BE49-F238E27FC236}">
                <a16:creationId xmlns:a16="http://schemas.microsoft.com/office/drawing/2014/main" id="{9D635741-2748-2933-D880-16F4A6BCDFEE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0566400" y="6399249"/>
            <a:ext cx="1205930" cy="16552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7" name="Google Shape;54;p32">
            <a:extLst>
              <a:ext uri="{FF2B5EF4-FFF2-40B4-BE49-F238E27FC236}">
                <a16:creationId xmlns:a16="http://schemas.microsoft.com/office/drawing/2014/main" id="{0155151C-27F5-9501-1FEF-1B03BE74AC76}"/>
              </a:ext>
            </a:extLst>
          </p:cNvPr>
          <p:cNvCxnSpPr>
            <a:cxnSpLocks/>
          </p:cNvCxnSpPr>
          <p:nvPr userDrawn="1"/>
        </p:nvCxnSpPr>
        <p:spPr>
          <a:xfrm>
            <a:off x="3743325" y="6492239"/>
            <a:ext cx="5330337" cy="0"/>
          </a:xfrm>
          <a:prstGeom prst="straightConnector1">
            <a:avLst/>
          </a:prstGeom>
          <a:solidFill>
            <a:schemeClr val="accent2"/>
          </a:solidFill>
          <a:ln w="19050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" name="Google Shape;86;p36">
            <a:extLst>
              <a:ext uri="{FF2B5EF4-FFF2-40B4-BE49-F238E27FC236}">
                <a16:creationId xmlns:a16="http://schemas.microsoft.com/office/drawing/2014/main" id="{4F0BA9D2-F2A8-3ABB-CE15-EC1CF6F67D8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42925" y="333070"/>
            <a:ext cx="9675896" cy="81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>
                <a:solidFill>
                  <a:schemeClr val="accent1"/>
                </a:solidFill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pic>
        <p:nvPicPr>
          <p:cNvPr id="4" name="Picture 2" descr="image">
            <a:extLst>
              <a:ext uri="{FF2B5EF4-FFF2-40B4-BE49-F238E27FC236}">
                <a16:creationId xmlns:a16="http://schemas.microsoft.com/office/drawing/2014/main" id="{8BBFC1FD-6E5F-9945-C904-6AC571CE2B1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9418" y="6334236"/>
            <a:ext cx="1205931" cy="298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12028830"/>
      </p:ext>
    </p:extLst>
  </p:cSld>
  <p:clrMapOvr>
    <a:masterClrMapping/>
  </p:clrMapOvr>
  <p:transition>
    <p:wipe dir="r"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in" preserve="1" userDrawn="1">
  <p:cSld name="1_Plain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35"/>
          <p:cNvSpPr txBox="1">
            <a:spLocks noGrp="1"/>
          </p:cNvSpPr>
          <p:nvPr>
            <p:ph type="sldNum" idx="12"/>
          </p:nvPr>
        </p:nvSpPr>
        <p:spPr>
          <a:xfrm>
            <a:off x="10512506" y="375991"/>
            <a:ext cx="1259824" cy="20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" name="Google Shape;40;p32">
            <a:extLst>
              <a:ext uri="{FF2B5EF4-FFF2-40B4-BE49-F238E27FC236}">
                <a16:creationId xmlns:a16="http://schemas.microsoft.com/office/drawing/2014/main" id="{701B8911-2A61-9AC3-6AA2-15CC414CE094}"/>
              </a:ext>
            </a:extLst>
          </p:cNvPr>
          <p:cNvSpPr txBox="1"/>
          <p:nvPr userDrawn="1"/>
        </p:nvSpPr>
        <p:spPr>
          <a:xfrm>
            <a:off x="516835" y="6334236"/>
            <a:ext cx="3550340" cy="2974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None/>
            </a:pPr>
            <a:r>
              <a:rPr lang="ru-RU" sz="12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ЗоРРО</a:t>
            </a:r>
            <a:r>
              <a:rPr lang="ru-RU" sz="1200" b="1" i="0" u="none" strike="noStrike" cap="none" baseline="30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® </a:t>
            </a:r>
            <a:r>
              <a:rPr lang="de-CH" sz="1200" b="1" i="0" u="none" strike="noStrike" cap="none" baseline="30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2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024 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| Internal Use Only</a:t>
            </a:r>
            <a:endParaRPr b="0" dirty="0"/>
          </a:p>
        </p:txBody>
      </p:sp>
      <p:pic>
        <p:nvPicPr>
          <p:cNvPr id="3" name="Google Shape;53;p32">
            <a:extLst>
              <a:ext uri="{FF2B5EF4-FFF2-40B4-BE49-F238E27FC236}">
                <a16:creationId xmlns:a16="http://schemas.microsoft.com/office/drawing/2014/main" id="{9D635741-2748-2933-D880-16F4A6BCDFEE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0566400" y="6399249"/>
            <a:ext cx="1205930" cy="16552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7" name="Google Shape;54;p32">
            <a:extLst>
              <a:ext uri="{FF2B5EF4-FFF2-40B4-BE49-F238E27FC236}">
                <a16:creationId xmlns:a16="http://schemas.microsoft.com/office/drawing/2014/main" id="{0155151C-27F5-9501-1FEF-1B03BE74AC76}"/>
              </a:ext>
            </a:extLst>
          </p:cNvPr>
          <p:cNvCxnSpPr>
            <a:cxnSpLocks/>
          </p:cNvCxnSpPr>
          <p:nvPr userDrawn="1"/>
        </p:nvCxnSpPr>
        <p:spPr>
          <a:xfrm>
            <a:off x="3743325" y="6492239"/>
            <a:ext cx="5330337" cy="0"/>
          </a:xfrm>
          <a:prstGeom prst="straightConnector1">
            <a:avLst/>
          </a:prstGeom>
          <a:solidFill>
            <a:schemeClr val="accent2"/>
          </a:solidFill>
          <a:ln w="19050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" name="Google Shape;86;p36">
            <a:extLst>
              <a:ext uri="{FF2B5EF4-FFF2-40B4-BE49-F238E27FC236}">
                <a16:creationId xmlns:a16="http://schemas.microsoft.com/office/drawing/2014/main" id="{8658732A-103C-613E-EE78-3B3421A49B2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42925" y="333070"/>
            <a:ext cx="9675896" cy="81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>
                <a:solidFill>
                  <a:schemeClr val="accent1"/>
                </a:solidFill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pic>
        <p:nvPicPr>
          <p:cNvPr id="1026" name="Picture 2" descr="image">
            <a:extLst>
              <a:ext uri="{FF2B5EF4-FFF2-40B4-BE49-F238E27FC236}">
                <a16:creationId xmlns:a16="http://schemas.microsoft.com/office/drawing/2014/main" id="{9FD379D3-9F42-7C0C-A309-CE072CE86EF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9418" y="6334236"/>
            <a:ext cx="1205931" cy="298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8627642"/>
      </p:ext>
    </p:extLst>
  </p:cSld>
  <p:clrMapOvr>
    <a:masterClrMapping/>
  </p:clrMapOvr>
  <p:transition>
    <p:wipe dir="r"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in" preserve="1" userDrawn="1">
  <p:cSld name="1_Plain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35"/>
          <p:cNvSpPr txBox="1">
            <a:spLocks noGrp="1"/>
          </p:cNvSpPr>
          <p:nvPr>
            <p:ph type="sldNum" idx="12"/>
          </p:nvPr>
        </p:nvSpPr>
        <p:spPr>
          <a:xfrm>
            <a:off x="10512506" y="375991"/>
            <a:ext cx="1259824" cy="20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" name="Google Shape;40;p32">
            <a:extLst>
              <a:ext uri="{FF2B5EF4-FFF2-40B4-BE49-F238E27FC236}">
                <a16:creationId xmlns:a16="http://schemas.microsoft.com/office/drawing/2014/main" id="{701B8911-2A61-9AC3-6AA2-15CC414CE094}"/>
              </a:ext>
            </a:extLst>
          </p:cNvPr>
          <p:cNvSpPr txBox="1"/>
          <p:nvPr userDrawn="1"/>
        </p:nvSpPr>
        <p:spPr>
          <a:xfrm>
            <a:off x="516835" y="6334236"/>
            <a:ext cx="3550340" cy="2974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None/>
            </a:pPr>
            <a:r>
              <a:rPr lang="ru-RU" sz="12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ЗоРРО</a:t>
            </a:r>
            <a:r>
              <a:rPr lang="ru-RU" sz="1200" b="1" i="0" u="none" strike="noStrike" cap="none" baseline="30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® </a:t>
            </a:r>
            <a:r>
              <a:rPr lang="de-CH" sz="1200" b="1" i="0" u="none" strike="noStrike" cap="none" baseline="30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2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024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| Internal Use Only</a:t>
            </a:r>
            <a:endParaRPr b="0" dirty="0"/>
          </a:p>
        </p:txBody>
      </p:sp>
      <p:pic>
        <p:nvPicPr>
          <p:cNvPr id="3" name="Google Shape;53;p32">
            <a:extLst>
              <a:ext uri="{FF2B5EF4-FFF2-40B4-BE49-F238E27FC236}">
                <a16:creationId xmlns:a16="http://schemas.microsoft.com/office/drawing/2014/main" id="{9D635741-2748-2933-D880-16F4A6BCDFEE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0566400" y="6399249"/>
            <a:ext cx="1205930" cy="16552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4" name="Google Shape;54;p32">
            <a:extLst>
              <a:ext uri="{FF2B5EF4-FFF2-40B4-BE49-F238E27FC236}">
                <a16:creationId xmlns:a16="http://schemas.microsoft.com/office/drawing/2014/main" id="{32112634-9604-97E3-1BFE-476BB3F49E84}"/>
              </a:ext>
            </a:extLst>
          </p:cNvPr>
          <p:cNvCxnSpPr>
            <a:cxnSpLocks/>
          </p:cNvCxnSpPr>
          <p:nvPr userDrawn="1"/>
        </p:nvCxnSpPr>
        <p:spPr>
          <a:xfrm>
            <a:off x="3743325" y="6492239"/>
            <a:ext cx="5330337" cy="0"/>
          </a:xfrm>
          <a:prstGeom prst="straightConnector1">
            <a:avLst/>
          </a:prstGeom>
          <a:solidFill>
            <a:schemeClr val="accent2"/>
          </a:solidFill>
          <a:ln w="19050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AA69CB7B-A382-42A4-CE5E-FB9CC55BA57E}"/>
              </a:ext>
            </a:extLst>
          </p:cNvPr>
          <p:cNvSpPr/>
          <p:nvPr userDrawn="1"/>
        </p:nvSpPr>
        <p:spPr>
          <a:xfrm>
            <a:off x="-12334" y="0"/>
            <a:ext cx="12204333" cy="619476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913ACE1-EBB3-3BFC-115D-482C19701F6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261901" y="6337420"/>
            <a:ext cx="1153663" cy="306787"/>
          </a:xfrm>
          <a:prstGeom prst="rect">
            <a:avLst/>
          </a:prstGeom>
        </p:spPr>
      </p:pic>
      <p:sp>
        <p:nvSpPr>
          <p:cNvPr id="5" name="Google Shape;86;p36">
            <a:extLst>
              <a:ext uri="{FF2B5EF4-FFF2-40B4-BE49-F238E27FC236}">
                <a16:creationId xmlns:a16="http://schemas.microsoft.com/office/drawing/2014/main" id="{3A21A2F8-2C12-AC15-026D-4FA8350EAAA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42925" y="333070"/>
            <a:ext cx="9675896" cy="81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>
                <a:solidFill>
                  <a:schemeClr val="accent1"/>
                </a:solidFill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81356626"/>
      </p:ext>
    </p:extLst>
  </p:cSld>
  <p:clrMapOvr>
    <a:masterClrMapping/>
  </p:clrMapOvr>
  <p:transition>
    <p:wipe dir="r"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in" preserve="1">
  <p:cSld name="1_Plain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22318897"/>
      </p:ext>
    </p:extLst>
  </p:cSld>
  <p:clrMapOvr>
    <a:masterClrMapping/>
  </p:clrMapOvr>
  <p:transition>
    <p:wipe dir="r"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Square photo (clear)" preserve="1">
  <p:cSld name="Title + Square photo (clear)"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Google Shape;81;p36"/>
          <p:cNvSpPr/>
          <p:nvPr/>
        </p:nvSpPr>
        <p:spPr>
          <a:xfrm>
            <a:off x="0" y="0"/>
            <a:ext cx="11132288" cy="5869172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0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2" name="Google Shape;82;p36"/>
          <p:cNvSpPr>
            <a:spLocks noGrp="1"/>
          </p:cNvSpPr>
          <p:nvPr>
            <p:ph type="pic" idx="2"/>
          </p:nvPr>
        </p:nvSpPr>
        <p:spPr>
          <a:xfrm>
            <a:off x="7561227" y="1257677"/>
            <a:ext cx="4228724" cy="4228723"/>
          </a:xfrm>
          <a:prstGeom prst="rect">
            <a:avLst/>
          </a:prstGeom>
          <a:noFill/>
          <a:ln>
            <a:noFill/>
          </a:ln>
        </p:spPr>
      </p:sp>
      <p:sp>
        <p:nvSpPr>
          <p:cNvPr id="83" name="Google Shape;83;p36"/>
          <p:cNvSpPr txBox="1">
            <a:spLocks noGrp="1"/>
          </p:cNvSpPr>
          <p:nvPr>
            <p:ph type="sldNum" idx="12"/>
          </p:nvPr>
        </p:nvSpPr>
        <p:spPr>
          <a:xfrm>
            <a:off x="10512506" y="375991"/>
            <a:ext cx="1259824" cy="20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86" name="Google Shape;86;p36"/>
          <p:cNvSpPr txBox="1">
            <a:spLocks noGrp="1"/>
          </p:cNvSpPr>
          <p:nvPr>
            <p:ph type="title"/>
          </p:nvPr>
        </p:nvSpPr>
        <p:spPr>
          <a:xfrm>
            <a:off x="542925" y="1257677"/>
            <a:ext cx="5553075" cy="81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200">
                <a:solidFill>
                  <a:schemeClr val="accent1"/>
                </a:solidFill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" name="Google Shape;40;p32">
            <a:extLst>
              <a:ext uri="{FF2B5EF4-FFF2-40B4-BE49-F238E27FC236}">
                <a16:creationId xmlns:a16="http://schemas.microsoft.com/office/drawing/2014/main" id="{10FA035B-92C2-C937-E926-426E510DCFF4}"/>
              </a:ext>
            </a:extLst>
          </p:cNvPr>
          <p:cNvSpPr txBox="1"/>
          <p:nvPr userDrawn="1"/>
        </p:nvSpPr>
        <p:spPr>
          <a:xfrm>
            <a:off x="516835" y="6334236"/>
            <a:ext cx="3550340" cy="2974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None/>
            </a:pPr>
            <a:r>
              <a:rPr lang="ru-RU" sz="12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ЗоРРО</a:t>
            </a:r>
            <a:r>
              <a:rPr lang="ru-RU" sz="1200" b="1" i="0" u="none" strike="noStrike" cap="none" baseline="30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® </a:t>
            </a:r>
            <a:r>
              <a:rPr lang="de-CH" sz="1200" b="1" i="0" u="none" strike="noStrike" cap="none" baseline="30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2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024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| Internal Use Only</a:t>
            </a:r>
            <a:endParaRPr b="0" dirty="0"/>
          </a:p>
        </p:txBody>
      </p:sp>
      <p:pic>
        <p:nvPicPr>
          <p:cNvPr id="3" name="Google Shape;53;p32">
            <a:extLst>
              <a:ext uri="{FF2B5EF4-FFF2-40B4-BE49-F238E27FC236}">
                <a16:creationId xmlns:a16="http://schemas.microsoft.com/office/drawing/2014/main" id="{3EEB591D-160F-4721-AAFA-7A819D5DD502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0566400" y="6399249"/>
            <a:ext cx="1205930" cy="16552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4" name="Google Shape;54;p32">
            <a:extLst>
              <a:ext uri="{FF2B5EF4-FFF2-40B4-BE49-F238E27FC236}">
                <a16:creationId xmlns:a16="http://schemas.microsoft.com/office/drawing/2014/main" id="{9F0F7F84-214B-C3DE-D251-F52F2761DD14}"/>
              </a:ext>
            </a:extLst>
          </p:cNvPr>
          <p:cNvCxnSpPr>
            <a:cxnSpLocks/>
          </p:cNvCxnSpPr>
          <p:nvPr userDrawn="1"/>
        </p:nvCxnSpPr>
        <p:spPr>
          <a:xfrm>
            <a:off x="3743325" y="6492239"/>
            <a:ext cx="6630035" cy="0"/>
          </a:xfrm>
          <a:prstGeom prst="straightConnector1">
            <a:avLst/>
          </a:prstGeom>
          <a:solidFill>
            <a:schemeClr val="accent2"/>
          </a:solidFill>
          <a:ln w="19050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86AD8597-23BD-7D6D-3F5D-1CD88EE8CBB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42926" y="397563"/>
            <a:ext cx="1573333" cy="418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5044393"/>
      </p:ext>
    </p:extLst>
  </p:cSld>
  <p:clrMapOvr>
    <a:masterClrMapping/>
  </p:clrMapOvr>
  <p:transition>
    <p:wipe dir="r"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Square photo (clear)" preserve="1" userDrawn="1">
  <p:cSld name="1_Title + Square photo (clear)"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Google Shape;81;p36"/>
          <p:cNvSpPr/>
          <p:nvPr/>
        </p:nvSpPr>
        <p:spPr>
          <a:xfrm>
            <a:off x="0" y="0"/>
            <a:ext cx="11132288" cy="5869172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0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2" name="Google Shape;82;p36"/>
          <p:cNvSpPr>
            <a:spLocks noGrp="1"/>
          </p:cNvSpPr>
          <p:nvPr>
            <p:ph type="pic" idx="2"/>
          </p:nvPr>
        </p:nvSpPr>
        <p:spPr>
          <a:xfrm>
            <a:off x="7561227" y="1257677"/>
            <a:ext cx="4228724" cy="4228723"/>
          </a:xfrm>
          <a:prstGeom prst="rect">
            <a:avLst/>
          </a:prstGeom>
          <a:noFill/>
          <a:ln>
            <a:noFill/>
          </a:ln>
        </p:spPr>
      </p:sp>
      <p:sp>
        <p:nvSpPr>
          <p:cNvPr id="83" name="Google Shape;83;p36"/>
          <p:cNvSpPr txBox="1">
            <a:spLocks noGrp="1"/>
          </p:cNvSpPr>
          <p:nvPr>
            <p:ph type="sldNum" idx="12"/>
          </p:nvPr>
        </p:nvSpPr>
        <p:spPr>
          <a:xfrm>
            <a:off x="10512506" y="375991"/>
            <a:ext cx="1259824" cy="20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" name="Google Shape;40;p32">
            <a:extLst>
              <a:ext uri="{FF2B5EF4-FFF2-40B4-BE49-F238E27FC236}">
                <a16:creationId xmlns:a16="http://schemas.microsoft.com/office/drawing/2014/main" id="{10FA035B-92C2-C937-E926-426E510DCFF4}"/>
              </a:ext>
            </a:extLst>
          </p:cNvPr>
          <p:cNvSpPr txBox="1"/>
          <p:nvPr userDrawn="1"/>
        </p:nvSpPr>
        <p:spPr>
          <a:xfrm>
            <a:off x="516835" y="6334236"/>
            <a:ext cx="3550340" cy="2974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None/>
            </a:pPr>
            <a:r>
              <a:rPr lang="ru-RU" sz="12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ЗоРРО</a:t>
            </a:r>
            <a:r>
              <a:rPr lang="ru-RU" sz="1200" b="1" i="0" u="none" strike="noStrike" cap="none" baseline="30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® </a:t>
            </a:r>
            <a:r>
              <a:rPr lang="de-CH" sz="1200" b="1" i="0" u="none" strike="noStrike" cap="none" baseline="30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2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024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| Internal Use Only</a:t>
            </a:r>
            <a:endParaRPr b="0" dirty="0"/>
          </a:p>
        </p:txBody>
      </p:sp>
      <p:pic>
        <p:nvPicPr>
          <p:cNvPr id="5" name="Google Shape;53;p32">
            <a:extLst>
              <a:ext uri="{FF2B5EF4-FFF2-40B4-BE49-F238E27FC236}">
                <a16:creationId xmlns:a16="http://schemas.microsoft.com/office/drawing/2014/main" id="{99BC074E-01F3-6989-E4BE-DB663DD47FF7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0566400" y="6399249"/>
            <a:ext cx="1205930" cy="16552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7" name="Google Shape;54;p32">
            <a:extLst>
              <a:ext uri="{FF2B5EF4-FFF2-40B4-BE49-F238E27FC236}">
                <a16:creationId xmlns:a16="http://schemas.microsoft.com/office/drawing/2014/main" id="{B99054F2-2363-9CF4-A918-527245A1B02B}"/>
              </a:ext>
            </a:extLst>
          </p:cNvPr>
          <p:cNvCxnSpPr>
            <a:cxnSpLocks/>
          </p:cNvCxnSpPr>
          <p:nvPr userDrawn="1"/>
        </p:nvCxnSpPr>
        <p:spPr>
          <a:xfrm>
            <a:off x="3743325" y="6492239"/>
            <a:ext cx="5330337" cy="0"/>
          </a:xfrm>
          <a:prstGeom prst="straightConnector1">
            <a:avLst/>
          </a:prstGeom>
          <a:solidFill>
            <a:schemeClr val="accent2"/>
          </a:solidFill>
          <a:ln w="19050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" name="Google Shape;86;p36">
            <a:extLst>
              <a:ext uri="{FF2B5EF4-FFF2-40B4-BE49-F238E27FC236}">
                <a16:creationId xmlns:a16="http://schemas.microsoft.com/office/drawing/2014/main" id="{786F4BBC-0C20-C45F-F068-6189F1DE346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42925" y="333070"/>
            <a:ext cx="9675896" cy="81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>
                <a:solidFill>
                  <a:schemeClr val="accent1"/>
                </a:solidFill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pic>
        <p:nvPicPr>
          <p:cNvPr id="4" name="Picture 2" descr="image">
            <a:extLst>
              <a:ext uri="{FF2B5EF4-FFF2-40B4-BE49-F238E27FC236}">
                <a16:creationId xmlns:a16="http://schemas.microsoft.com/office/drawing/2014/main" id="{E671008E-1FA3-8E11-FCF6-B0B3146CB7C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9418" y="6334236"/>
            <a:ext cx="1205931" cy="298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30998375"/>
      </p:ext>
    </p:extLst>
  </p:cSld>
  <p:clrMapOvr>
    <a:masterClrMapping/>
  </p:clrMapOvr>
  <p:transition>
    <p:wipe dir="r"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Square photo (clear)" preserve="1">
  <p:cSld name="1_Title + Square photo (clear)"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Google Shape;81;p36"/>
          <p:cNvSpPr/>
          <p:nvPr/>
        </p:nvSpPr>
        <p:spPr>
          <a:xfrm>
            <a:off x="0" y="0"/>
            <a:ext cx="11132288" cy="5869172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0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2" name="Google Shape;82;p36"/>
          <p:cNvSpPr>
            <a:spLocks noGrp="1"/>
          </p:cNvSpPr>
          <p:nvPr>
            <p:ph type="pic" idx="2"/>
          </p:nvPr>
        </p:nvSpPr>
        <p:spPr>
          <a:xfrm>
            <a:off x="5387010" y="1257677"/>
            <a:ext cx="6402942" cy="4228723"/>
          </a:xfrm>
          <a:prstGeom prst="rect">
            <a:avLst/>
          </a:prstGeom>
          <a:noFill/>
          <a:ln>
            <a:noFill/>
          </a:ln>
        </p:spPr>
      </p:sp>
      <p:sp>
        <p:nvSpPr>
          <p:cNvPr id="83" name="Google Shape;83;p36"/>
          <p:cNvSpPr txBox="1">
            <a:spLocks noGrp="1"/>
          </p:cNvSpPr>
          <p:nvPr>
            <p:ph type="sldNum" idx="12"/>
          </p:nvPr>
        </p:nvSpPr>
        <p:spPr>
          <a:xfrm>
            <a:off x="10512506" y="375991"/>
            <a:ext cx="1259824" cy="20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86" name="Google Shape;86;p36"/>
          <p:cNvSpPr txBox="1">
            <a:spLocks noGrp="1"/>
          </p:cNvSpPr>
          <p:nvPr>
            <p:ph type="title"/>
          </p:nvPr>
        </p:nvSpPr>
        <p:spPr>
          <a:xfrm>
            <a:off x="542926" y="1257677"/>
            <a:ext cx="4605544" cy="81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200">
                <a:solidFill>
                  <a:schemeClr val="accent1"/>
                </a:solidFill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2" name="Google Shape;40;p32">
            <a:extLst>
              <a:ext uri="{FF2B5EF4-FFF2-40B4-BE49-F238E27FC236}">
                <a16:creationId xmlns:a16="http://schemas.microsoft.com/office/drawing/2014/main" id="{10FA035B-92C2-C937-E926-426E510DCFF4}"/>
              </a:ext>
            </a:extLst>
          </p:cNvPr>
          <p:cNvSpPr txBox="1"/>
          <p:nvPr userDrawn="1"/>
        </p:nvSpPr>
        <p:spPr>
          <a:xfrm>
            <a:off x="516835" y="6334236"/>
            <a:ext cx="3550340" cy="2974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None/>
            </a:pPr>
            <a:r>
              <a:rPr lang="ru-RU" sz="12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ЗоРРО</a:t>
            </a:r>
            <a:r>
              <a:rPr lang="ru-RU" sz="1200" b="1" i="0" u="none" strike="noStrike" cap="none" baseline="30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® </a:t>
            </a:r>
            <a:r>
              <a:rPr lang="de-CH" sz="1200" b="1" i="0" u="none" strike="noStrike" cap="none" baseline="30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2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024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| Internal Use Only</a:t>
            </a:r>
            <a:endParaRPr b="0" dirty="0"/>
          </a:p>
        </p:txBody>
      </p:sp>
      <p:pic>
        <p:nvPicPr>
          <p:cNvPr id="3" name="Google Shape;53;p32">
            <a:extLst>
              <a:ext uri="{FF2B5EF4-FFF2-40B4-BE49-F238E27FC236}">
                <a16:creationId xmlns:a16="http://schemas.microsoft.com/office/drawing/2014/main" id="{3EEB591D-160F-4721-AAFA-7A819D5DD502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0566400" y="6399249"/>
            <a:ext cx="1205930" cy="16552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4" name="Google Shape;54;p32">
            <a:extLst>
              <a:ext uri="{FF2B5EF4-FFF2-40B4-BE49-F238E27FC236}">
                <a16:creationId xmlns:a16="http://schemas.microsoft.com/office/drawing/2014/main" id="{9F0F7F84-214B-C3DE-D251-F52F2761DD14}"/>
              </a:ext>
            </a:extLst>
          </p:cNvPr>
          <p:cNvCxnSpPr>
            <a:cxnSpLocks/>
          </p:cNvCxnSpPr>
          <p:nvPr userDrawn="1"/>
        </p:nvCxnSpPr>
        <p:spPr>
          <a:xfrm>
            <a:off x="3743325" y="6492239"/>
            <a:ext cx="6630035" cy="0"/>
          </a:xfrm>
          <a:prstGeom prst="straightConnector1">
            <a:avLst/>
          </a:prstGeom>
          <a:solidFill>
            <a:schemeClr val="accent2"/>
          </a:solidFill>
          <a:ln w="19050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6C0B1836-7911-F072-EA29-17F15984D68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42926" y="397563"/>
            <a:ext cx="1573333" cy="418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2935797"/>
      </p:ext>
    </p:extLst>
  </p:cSld>
  <p:clrMapOvr>
    <a:masterClrMapping/>
  </p:clrMapOvr>
  <p:transition>
    <p:wipe dir="r"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eader + Title + Content + Iphone (clear)" preserve="1">
  <p:cSld name="Header + Title + Content + Iphone (clear)"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37"/>
          <p:cNvSpPr/>
          <p:nvPr/>
        </p:nvSpPr>
        <p:spPr>
          <a:xfrm>
            <a:off x="0" y="0"/>
            <a:ext cx="11132288" cy="5869172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0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1" name="Google Shape;91;p37"/>
          <p:cNvSpPr txBox="1">
            <a:spLocks noGrp="1"/>
          </p:cNvSpPr>
          <p:nvPr>
            <p:ph type="title"/>
          </p:nvPr>
        </p:nvSpPr>
        <p:spPr>
          <a:xfrm>
            <a:off x="542926" y="1427277"/>
            <a:ext cx="7077074" cy="81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accent1"/>
                </a:solidFill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" name="Google Shape;92;p37"/>
          <p:cNvSpPr txBox="1">
            <a:spLocks noGrp="1"/>
          </p:cNvSpPr>
          <p:nvPr>
            <p:ph type="sldNum" idx="12"/>
          </p:nvPr>
        </p:nvSpPr>
        <p:spPr>
          <a:xfrm>
            <a:off x="10512506" y="375991"/>
            <a:ext cx="1259824" cy="20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3" name="Google Shape;93;p37"/>
          <p:cNvSpPr txBox="1">
            <a:spLocks noGrp="1"/>
          </p:cNvSpPr>
          <p:nvPr>
            <p:ph type="body" idx="1"/>
          </p:nvPr>
        </p:nvSpPr>
        <p:spPr>
          <a:xfrm>
            <a:off x="542925" y="2447173"/>
            <a:ext cx="7077075" cy="27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marL="914400" lvl="1" indent="-228600" algn="l">
              <a:spcBef>
                <a:spcPts val="35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spcBef>
                <a:spcPts val="300"/>
              </a:spcBef>
              <a:spcAft>
                <a:spcPts val="0"/>
              </a:spcAft>
              <a:buSzPts val="1000"/>
              <a:buFont typeface="Arial"/>
              <a:buNone/>
              <a:defRPr sz="1000"/>
            </a:lvl3pPr>
            <a:lvl4pPr marL="1828800" lvl="3" indent="-228600" algn="l">
              <a:spcBef>
                <a:spcPts val="250"/>
              </a:spcBef>
              <a:spcAft>
                <a:spcPts val="0"/>
              </a:spcAft>
              <a:buSzPts val="1000"/>
              <a:buNone/>
              <a:defRPr sz="1000"/>
            </a:lvl4pPr>
            <a:lvl5pPr marL="2286000" lvl="4" indent="-228600" algn="l">
              <a:spcBef>
                <a:spcPts val="250"/>
              </a:spcBef>
              <a:spcAft>
                <a:spcPts val="0"/>
              </a:spcAft>
              <a:buSzPts val="1000"/>
              <a:buFont typeface="Arial"/>
              <a:buNone/>
              <a:defRPr sz="1000"/>
            </a:lvl5pPr>
            <a:lvl6pPr marL="2743200" lvl="5" indent="-342900" algn="l">
              <a:spcBef>
                <a:spcPts val="25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" name="Google Shape;96;p37"/>
          <p:cNvSpPr txBox="1">
            <a:spLocks noGrp="1"/>
          </p:cNvSpPr>
          <p:nvPr>
            <p:ph type="body" idx="2"/>
          </p:nvPr>
        </p:nvSpPr>
        <p:spPr>
          <a:xfrm>
            <a:off x="542926" y="914400"/>
            <a:ext cx="7087042" cy="22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lt2"/>
                </a:solidFill>
              </a:defRPr>
            </a:lvl1pPr>
            <a:lvl2pPr marL="914400" lvl="1" indent="-228600" algn="l">
              <a:spcBef>
                <a:spcPts val="300"/>
              </a:spcBef>
              <a:spcAft>
                <a:spcPts val="0"/>
              </a:spcAft>
              <a:buSzPts val="1200"/>
              <a:buNone/>
              <a:defRPr sz="1200" b="1">
                <a:solidFill>
                  <a:schemeClr val="lt2"/>
                </a:solidFill>
              </a:defRPr>
            </a:lvl2pPr>
            <a:lvl3pPr marL="1371600" lvl="2" indent="-228600" algn="l">
              <a:spcBef>
                <a:spcPts val="300"/>
              </a:spcBef>
              <a:spcAft>
                <a:spcPts val="0"/>
              </a:spcAft>
              <a:buSzPts val="1200"/>
              <a:buFont typeface="Arial"/>
              <a:buNone/>
              <a:defRPr sz="1200" b="1">
                <a:solidFill>
                  <a:schemeClr val="lt2"/>
                </a:solidFill>
              </a:defRPr>
            </a:lvl3pPr>
            <a:lvl4pPr marL="1828800" lvl="3" indent="-228600" algn="l">
              <a:spcBef>
                <a:spcPts val="300"/>
              </a:spcBef>
              <a:spcAft>
                <a:spcPts val="0"/>
              </a:spcAft>
              <a:buSzPts val="1200"/>
              <a:buNone/>
              <a:defRPr sz="1200" b="1">
                <a:solidFill>
                  <a:schemeClr val="lt2"/>
                </a:solidFill>
              </a:defRPr>
            </a:lvl4pPr>
            <a:lvl5pPr marL="2286000" lvl="4" indent="-228600" algn="l">
              <a:spcBef>
                <a:spcPts val="300"/>
              </a:spcBef>
              <a:spcAft>
                <a:spcPts val="0"/>
              </a:spcAft>
              <a:buSzPts val="1200"/>
              <a:buFont typeface="Arial"/>
              <a:buNone/>
              <a:defRPr sz="1200" b="1">
                <a:solidFill>
                  <a:schemeClr val="lt2"/>
                </a:solidFill>
              </a:defRPr>
            </a:lvl5pPr>
            <a:lvl6pPr marL="2743200" lvl="5" indent="-342900" algn="l">
              <a:spcBef>
                <a:spcPts val="3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 dirty="0"/>
          </a:p>
        </p:txBody>
      </p:sp>
      <p:pic>
        <p:nvPicPr>
          <p:cNvPr id="97" name="Google Shape;97;p3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8569880" y="988828"/>
            <a:ext cx="2298897" cy="4581939"/>
          </a:xfrm>
          <a:prstGeom prst="rect">
            <a:avLst/>
          </a:prstGeom>
          <a:noFill/>
          <a:ln>
            <a:noFill/>
          </a:ln>
        </p:spPr>
      </p:pic>
      <p:sp>
        <p:nvSpPr>
          <p:cNvPr id="98" name="Google Shape;98;p37"/>
          <p:cNvSpPr>
            <a:spLocks noGrp="1"/>
          </p:cNvSpPr>
          <p:nvPr>
            <p:ph type="pic" idx="3"/>
          </p:nvPr>
        </p:nvSpPr>
        <p:spPr>
          <a:xfrm>
            <a:off x="8716963" y="1105435"/>
            <a:ext cx="2004255" cy="4304765"/>
          </a:xfrm>
          <a:prstGeom prst="roundRect">
            <a:avLst>
              <a:gd name="adj" fmla="val 11814"/>
            </a:avLst>
          </a:prstGeom>
          <a:noFill/>
          <a:ln>
            <a:noFill/>
          </a:ln>
        </p:spPr>
      </p:sp>
      <p:pic>
        <p:nvPicPr>
          <p:cNvPr id="99" name="Google Shape;99;p37"/>
          <p:cNvPicPr preferRelativeResize="0"/>
          <p:nvPr/>
        </p:nvPicPr>
        <p:blipFill rotWithShape="1">
          <a:blip r:embed="rId3">
            <a:alphaModFix/>
          </a:blip>
          <a:srcRect l="24974" r="22126" b="93309"/>
          <a:stretch/>
        </p:blipFill>
        <p:spPr>
          <a:xfrm>
            <a:off x="9127437" y="988828"/>
            <a:ext cx="1216106" cy="306572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40;p32">
            <a:extLst>
              <a:ext uri="{FF2B5EF4-FFF2-40B4-BE49-F238E27FC236}">
                <a16:creationId xmlns:a16="http://schemas.microsoft.com/office/drawing/2014/main" id="{68BAAE88-BFE3-5A32-CF9C-AF3F2850C5BF}"/>
              </a:ext>
            </a:extLst>
          </p:cNvPr>
          <p:cNvSpPr txBox="1"/>
          <p:nvPr userDrawn="1"/>
        </p:nvSpPr>
        <p:spPr>
          <a:xfrm>
            <a:off x="516835" y="6334236"/>
            <a:ext cx="3550340" cy="2974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None/>
            </a:pPr>
            <a:r>
              <a:rPr lang="ru-RU" sz="12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ЗоРРО</a:t>
            </a:r>
            <a:r>
              <a:rPr lang="ru-RU" sz="1200" b="1" i="0" u="none" strike="noStrike" cap="none" baseline="30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® </a:t>
            </a:r>
            <a:r>
              <a:rPr lang="de-CH" sz="1200" b="1" i="0" u="none" strike="noStrike" cap="none" baseline="30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2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024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| Internal Use Only</a:t>
            </a:r>
            <a:endParaRPr b="0" dirty="0"/>
          </a:p>
        </p:txBody>
      </p:sp>
      <p:pic>
        <p:nvPicPr>
          <p:cNvPr id="3" name="Google Shape;53;p32">
            <a:extLst>
              <a:ext uri="{FF2B5EF4-FFF2-40B4-BE49-F238E27FC236}">
                <a16:creationId xmlns:a16="http://schemas.microsoft.com/office/drawing/2014/main" id="{79100706-B0A8-8270-1E8B-06D3EAAB6661}"/>
              </a:ext>
            </a:extLst>
          </p:cNvPr>
          <p:cNvPicPr preferRelativeResize="0"/>
          <p:nvPr userDrawn="1"/>
        </p:nvPicPr>
        <p:blipFill rotWithShape="1">
          <a:blip r:embed="rId4">
            <a:alphaModFix/>
          </a:blip>
          <a:srcRect/>
          <a:stretch/>
        </p:blipFill>
        <p:spPr>
          <a:xfrm>
            <a:off x="10566400" y="6399249"/>
            <a:ext cx="1205930" cy="16552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4" name="Google Shape;54;p32">
            <a:extLst>
              <a:ext uri="{FF2B5EF4-FFF2-40B4-BE49-F238E27FC236}">
                <a16:creationId xmlns:a16="http://schemas.microsoft.com/office/drawing/2014/main" id="{5031C499-CCC6-EFFB-663A-175AAE480898}"/>
              </a:ext>
            </a:extLst>
          </p:cNvPr>
          <p:cNvCxnSpPr>
            <a:cxnSpLocks/>
          </p:cNvCxnSpPr>
          <p:nvPr userDrawn="1"/>
        </p:nvCxnSpPr>
        <p:spPr>
          <a:xfrm>
            <a:off x="3743325" y="6492239"/>
            <a:ext cx="6630035" cy="0"/>
          </a:xfrm>
          <a:prstGeom prst="straightConnector1">
            <a:avLst/>
          </a:prstGeom>
          <a:solidFill>
            <a:schemeClr val="accent2"/>
          </a:solidFill>
          <a:ln w="19050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865FD3AA-6230-7845-5C93-A87767A377D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42926" y="397563"/>
            <a:ext cx="1573333" cy="418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6175747"/>
      </p:ext>
    </p:extLst>
  </p:cSld>
  <p:clrMapOvr>
    <a:masterClrMapping/>
  </p:clrMapOvr>
  <p:transition>
    <p:wipe dir="r"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Iphone (dark)" preserve="1">
  <p:cSld name="Title + Iphone (dark)">
    <p:bg>
      <p:bgPr>
        <a:solidFill>
          <a:schemeClr val="lt1"/>
        </a:solidFill>
        <a:effectLst/>
      </p:bgPr>
    </p:bg>
    <p:spTree>
      <p:nvGrpSpPr>
        <p:cNvPr id="1" name="Shape 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" name="Google Shape;103;p38"/>
          <p:cNvPicPr preferRelativeResize="0"/>
          <p:nvPr/>
        </p:nvPicPr>
        <p:blipFill rotWithShape="1">
          <a:blip r:embed="rId2">
            <a:alphaModFix/>
          </a:blip>
          <a:srcRect l="50000" r="18360"/>
          <a:stretch/>
        </p:blipFill>
        <p:spPr>
          <a:xfrm rot="-5400000">
            <a:off x="2667002" y="-2667003"/>
            <a:ext cx="6858002" cy="12192003"/>
          </a:xfrm>
          <a:prstGeom prst="rect">
            <a:avLst/>
          </a:prstGeom>
          <a:noFill/>
          <a:ln>
            <a:noFill/>
          </a:ln>
        </p:spPr>
      </p:pic>
      <p:sp>
        <p:nvSpPr>
          <p:cNvPr id="104" name="Google Shape;104;p38"/>
          <p:cNvSpPr/>
          <p:nvPr/>
        </p:nvSpPr>
        <p:spPr>
          <a:xfrm>
            <a:off x="0" y="0"/>
            <a:ext cx="11132288" cy="5869172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0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" name="Google Shape;105;p38"/>
          <p:cNvSpPr txBox="1">
            <a:spLocks noGrp="1"/>
          </p:cNvSpPr>
          <p:nvPr>
            <p:ph type="sldNum" idx="12"/>
          </p:nvPr>
        </p:nvSpPr>
        <p:spPr>
          <a:xfrm>
            <a:off x="10512506" y="375991"/>
            <a:ext cx="1259824" cy="20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08" name="Google Shape;108;p3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569880" y="988828"/>
            <a:ext cx="2298897" cy="4581939"/>
          </a:xfrm>
          <a:prstGeom prst="rect">
            <a:avLst/>
          </a:prstGeom>
          <a:noFill/>
          <a:ln>
            <a:noFill/>
          </a:ln>
        </p:spPr>
      </p:pic>
      <p:sp>
        <p:nvSpPr>
          <p:cNvPr id="109" name="Google Shape;109;p38"/>
          <p:cNvSpPr>
            <a:spLocks noGrp="1"/>
          </p:cNvSpPr>
          <p:nvPr>
            <p:ph type="pic" idx="2"/>
          </p:nvPr>
        </p:nvSpPr>
        <p:spPr>
          <a:xfrm>
            <a:off x="8716963" y="1103313"/>
            <a:ext cx="2047875" cy="4322762"/>
          </a:xfrm>
          <a:prstGeom prst="rect">
            <a:avLst/>
          </a:prstGeom>
          <a:noFill/>
          <a:ln>
            <a:noFill/>
          </a:ln>
        </p:spPr>
      </p:sp>
      <p:sp>
        <p:nvSpPr>
          <p:cNvPr id="110" name="Google Shape;110;p38"/>
          <p:cNvSpPr txBox="1">
            <a:spLocks noGrp="1"/>
          </p:cNvSpPr>
          <p:nvPr>
            <p:ph type="title"/>
          </p:nvPr>
        </p:nvSpPr>
        <p:spPr>
          <a:xfrm>
            <a:off x="542925" y="1257677"/>
            <a:ext cx="5553075" cy="81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200">
                <a:solidFill>
                  <a:schemeClr val="dk2"/>
                </a:solidFill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" name="Google Shape;112;p38">
            <a:extLst>
              <a:ext uri="{FF2B5EF4-FFF2-40B4-BE49-F238E27FC236}">
                <a16:creationId xmlns:a16="http://schemas.microsoft.com/office/drawing/2014/main" id="{EBCFD869-7AB9-7BCE-3AB6-EF8433A3D3D7}"/>
              </a:ext>
            </a:extLst>
          </p:cNvPr>
          <p:cNvPicPr preferRelativeResize="0"/>
          <p:nvPr userDrawn="1"/>
        </p:nvPicPr>
        <p:blipFill rotWithShape="1">
          <a:blip r:embed="rId4">
            <a:alphaModFix/>
          </a:blip>
          <a:srcRect/>
          <a:stretch/>
        </p:blipFill>
        <p:spPr>
          <a:xfrm>
            <a:off x="10566400" y="6399249"/>
            <a:ext cx="1205930" cy="16552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3" name="Google Shape;54;p32">
            <a:extLst>
              <a:ext uri="{FF2B5EF4-FFF2-40B4-BE49-F238E27FC236}">
                <a16:creationId xmlns:a16="http://schemas.microsoft.com/office/drawing/2014/main" id="{575F1F29-8A4B-B315-9D7C-3070A65D3BBF}"/>
              </a:ext>
            </a:extLst>
          </p:cNvPr>
          <p:cNvCxnSpPr>
            <a:cxnSpLocks/>
          </p:cNvCxnSpPr>
          <p:nvPr userDrawn="1"/>
        </p:nvCxnSpPr>
        <p:spPr>
          <a:xfrm>
            <a:off x="3743325" y="6492239"/>
            <a:ext cx="6630035" cy="0"/>
          </a:xfrm>
          <a:prstGeom prst="straightConnector1">
            <a:avLst/>
          </a:prstGeom>
          <a:solidFill>
            <a:schemeClr val="accent2"/>
          </a:solidFill>
          <a:ln w="19050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4" name="Google Shape;40;p32">
            <a:extLst>
              <a:ext uri="{FF2B5EF4-FFF2-40B4-BE49-F238E27FC236}">
                <a16:creationId xmlns:a16="http://schemas.microsoft.com/office/drawing/2014/main" id="{6110427B-3AAA-5620-D12A-0CD6F4BDE2CD}"/>
              </a:ext>
            </a:extLst>
          </p:cNvPr>
          <p:cNvSpPr txBox="1"/>
          <p:nvPr userDrawn="1"/>
        </p:nvSpPr>
        <p:spPr>
          <a:xfrm>
            <a:off x="516835" y="6334236"/>
            <a:ext cx="3550340" cy="2974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None/>
            </a:pPr>
            <a:r>
              <a:rPr lang="ru-RU" sz="1200" b="1" i="0" u="none" strike="noStrike" cap="none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ЗоРРО</a:t>
            </a:r>
            <a:r>
              <a:rPr lang="ru-RU" sz="1200" b="1" i="0" u="none" strike="noStrike" cap="none" baseline="3000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®</a:t>
            </a:r>
            <a:r>
              <a:rPr lang="de-CH" sz="1200" b="1" i="0" u="none" strike="noStrike" cap="none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200" b="1" i="0" u="none" strike="noStrike" cap="none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2024 </a:t>
            </a:r>
            <a:r>
              <a:rPr lang="en-US" sz="1200" b="0" i="0" u="none" strike="noStrike" cap="none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| Internal Use Only</a:t>
            </a:r>
            <a:endParaRPr b="0" dirty="0">
              <a:solidFill>
                <a:srgbClr val="FFFFFF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631CED0-C26F-27CA-6252-998F4DC0CFF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41773" y="397563"/>
            <a:ext cx="1573333" cy="418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9401816"/>
      </p:ext>
    </p:extLst>
  </p:cSld>
  <p:clrMapOvr>
    <a:masterClrMapping/>
  </p:clrMapOvr>
  <p:transition>
    <p:wipe dir="r"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. Cover_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flock of birds&#10;&#10;Description automatically generated">
            <a:extLst>
              <a:ext uri="{FF2B5EF4-FFF2-40B4-BE49-F238E27FC236}">
                <a16:creationId xmlns:a16="http://schemas.microsoft.com/office/drawing/2014/main" id="{5A15C04A-AE9F-4B4C-BFA7-A032BF77C8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>
          <a:xfrm flipH="1">
            <a:off x="5689344" y="304800"/>
            <a:ext cx="6197854" cy="62484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8EAEEFA-ECE7-4BC4-8602-E9873380B4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1833926"/>
            <a:ext cx="4562856" cy="1234440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/>
              <a:t>Tit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9331859-061F-4FAF-8C7C-00A07BA52B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04800" y="6305406"/>
            <a:ext cx="4114800" cy="243618"/>
          </a:xfrm>
        </p:spPr>
        <p:txBody>
          <a:bodyPr/>
          <a:lstStyle>
            <a:lvl1pPr algn="l">
              <a:defRPr/>
            </a:lvl1pPr>
          </a:lstStyle>
          <a:p>
            <a:pPr algn="l"/>
            <a:r>
              <a:rPr lang="en-GB"/>
              <a:t>CLASSIFICATION: Internal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71D1E8-96EC-4327-84D7-EE219D5AB9C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219C47F3-E74D-462A-9E9A-E7164C68AF7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C98747EC-11C2-486D-A172-D2A3DA7C322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1"/>
            <a:ext cx="2839184" cy="1231496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0881F4D-935B-47DB-86E8-8DDD545626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3241040"/>
            <a:ext cx="4562475" cy="1261872"/>
          </a:xfrm>
        </p:spPr>
        <p:txBody>
          <a:bodyPr/>
          <a:lstStyle>
            <a:lvl1pPr>
              <a:defRPr sz="2800"/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US"/>
              <a:t>Subtitle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2CF140B-D995-4687-8C29-3E77359795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5024074"/>
            <a:ext cx="4562475" cy="2743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Date</a:t>
            </a:r>
            <a:endParaRPr lang="en-GB"/>
          </a:p>
        </p:txBody>
      </p:sp>
      <p:grpSp>
        <p:nvGrpSpPr>
          <p:cNvPr id="244" name="Group 243">
            <a:extLst>
              <a:ext uri="{FF2B5EF4-FFF2-40B4-BE49-F238E27FC236}">
                <a16:creationId xmlns:a16="http://schemas.microsoft.com/office/drawing/2014/main" id="{CF6A2E32-C67F-4DD3-8A29-0112873DEBD7}"/>
              </a:ext>
            </a:extLst>
          </p:cNvPr>
          <p:cNvGrpSpPr/>
          <p:nvPr userDrawn="1"/>
        </p:nvGrpSpPr>
        <p:grpSpPr>
          <a:xfrm>
            <a:off x="5689344" y="2840463"/>
            <a:ext cx="6197854" cy="3718885"/>
            <a:chOff x="12333945" y="2449479"/>
            <a:chExt cx="6822512" cy="4093697"/>
          </a:xfrm>
        </p:grpSpPr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7A3CD69A-FE30-4CFA-BB4F-E8913E402B46}"/>
                </a:ext>
              </a:extLst>
            </p:cNvPr>
            <p:cNvSpPr/>
            <p:nvPr/>
          </p:nvSpPr>
          <p:spPr>
            <a:xfrm>
              <a:off x="12333945" y="5861115"/>
              <a:ext cx="682061" cy="682061"/>
            </a:xfrm>
            <a:custGeom>
              <a:avLst/>
              <a:gdLst>
                <a:gd name="connsiteX0" fmla="*/ 0 w 342328"/>
                <a:gd name="connsiteY0" fmla="*/ 0 h 342328"/>
                <a:gd name="connsiteX1" fmla="*/ 0 w 342328"/>
                <a:gd name="connsiteY1" fmla="*/ 0 h 342328"/>
                <a:gd name="connsiteX2" fmla="*/ 342329 w 342328"/>
                <a:gd name="connsiteY2" fmla="*/ 342329 h 342328"/>
                <a:gd name="connsiteX3" fmla="*/ 342329 w 342328"/>
                <a:gd name="connsiteY3" fmla="*/ 342329 h 342328"/>
                <a:gd name="connsiteX4" fmla="*/ 0 w 342328"/>
                <a:gd name="connsiteY4" fmla="*/ 0 h 34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28" h="342328">
                  <a:moveTo>
                    <a:pt x="0" y="0"/>
                  </a:moveTo>
                  <a:lnTo>
                    <a:pt x="0" y="0"/>
                  </a:lnTo>
                  <a:cubicBezTo>
                    <a:pt x="189062" y="0"/>
                    <a:pt x="342329" y="153267"/>
                    <a:pt x="342329" y="342329"/>
                  </a:cubicBezTo>
                  <a:lnTo>
                    <a:pt x="342329" y="342329"/>
                  </a:lnTo>
                  <a:cubicBezTo>
                    <a:pt x="153267" y="342329"/>
                    <a:pt x="0" y="189062"/>
                    <a:pt x="0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2A9ACD55-53B2-4670-8E03-BD00251C722B}"/>
                </a:ext>
              </a:extLst>
            </p:cNvPr>
            <p:cNvSpPr/>
            <p:nvPr/>
          </p:nvSpPr>
          <p:spPr>
            <a:xfrm>
              <a:off x="12333945" y="5177915"/>
              <a:ext cx="682061" cy="683200"/>
            </a:xfrm>
            <a:custGeom>
              <a:avLst/>
              <a:gdLst>
                <a:gd name="connsiteX0" fmla="*/ 342329 w 342328"/>
                <a:gd name="connsiteY0" fmla="*/ 0 h 342900"/>
                <a:gd name="connsiteX1" fmla="*/ 342329 w 342328"/>
                <a:gd name="connsiteY1" fmla="*/ 0 h 342900"/>
                <a:gd name="connsiteX2" fmla="*/ 0 w 342328"/>
                <a:gd name="connsiteY2" fmla="*/ 342900 h 342900"/>
                <a:gd name="connsiteX3" fmla="*/ 0 w 342328"/>
                <a:gd name="connsiteY3" fmla="*/ 342900 h 342900"/>
                <a:gd name="connsiteX4" fmla="*/ 342329 w 342328"/>
                <a:gd name="connsiteY4" fmla="*/ 571 h 342900"/>
                <a:gd name="connsiteX5" fmla="*/ 342329 w 342328"/>
                <a:gd name="connsiteY5" fmla="*/ 0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328" h="342900">
                  <a:moveTo>
                    <a:pt x="342329" y="0"/>
                  </a:moveTo>
                  <a:lnTo>
                    <a:pt x="342329" y="0"/>
                  </a:lnTo>
                  <a:cubicBezTo>
                    <a:pt x="153172" y="315"/>
                    <a:pt x="0" y="153743"/>
                    <a:pt x="0" y="342900"/>
                  </a:cubicBezTo>
                  <a:lnTo>
                    <a:pt x="0" y="342900"/>
                  </a:lnTo>
                  <a:cubicBezTo>
                    <a:pt x="189062" y="342900"/>
                    <a:pt x="342329" y="189633"/>
                    <a:pt x="342329" y="571"/>
                  </a:cubicBezTo>
                  <a:cubicBezTo>
                    <a:pt x="342329" y="381"/>
                    <a:pt x="342329" y="191"/>
                    <a:pt x="342329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42921900-0B34-42B0-B47D-B30F8271DCC8}"/>
                </a:ext>
              </a:extLst>
            </p:cNvPr>
            <p:cNvSpPr/>
            <p:nvPr/>
          </p:nvSpPr>
          <p:spPr>
            <a:xfrm>
              <a:off x="13016008" y="5861113"/>
              <a:ext cx="682250" cy="682061"/>
            </a:xfrm>
            <a:custGeom>
              <a:avLst/>
              <a:gdLst>
                <a:gd name="connsiteX0" fmla="*/ 342424 w 342423"/>
                <a:gd name="connsiteY0" fmla="*/ 0 h 342328"/>
                <a:gd name="connsiteX1" fmla="*/ 342424 w 342423"/>
                <a:gd name="connsiteY1" fmla="*/ 0 h 342328"/>
                <a:gd name="connsiteX2" fmla="*/ 0 w 342423"/>
                <a:gd name="connsiteY2" fmla="*/ 342233 h 342328"/>
                <a:gd name="connsiteX3" fmla="*/ 0 w 342423"/>
                <a:gd name="connsiteY3" fmla="*/ 342329 h 342328"/>
                <a:gd name="connsiteX4" fmla="*/ 0 w 342423"/>
                <a:gd name="connsiteY4" fmla="*/ 342329 h 342328"/>
                <a:gd name="connsiteX5" fmla="*/ 342424 w 342423"/>
                <a:gd name="connsiteY5" fmla="*/ 0 h 34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423" h="342328">
                  <a:moveTo>
                    <a:pt x="342424" y="0"/>
                  </a:moveTo>
                  <a:lnTo>
                    <a:pt x="342424" y="0"/>
                  </a:lnTo>
                  <a:cubicBezTo>
                    <a:pt x="153362" y="-48"/>
                    <a:pt x="57" y="153171"/>
                    <a:pt x="0" y="342233"/>
                  </a:cubicBezTo>
                  <a:cubicBezTo>
                    <a:pt x="0" y="342262"/>
                    <a:pt x="0" y="342300"/>
                    <a:pt x="0" y="342329"/>
                  </a:cubicBezTo>
                  <a:lnTo>
                    <a:pt x="0" y="342329"/>
                  </a:lnTo>
                  <a:cubicBezTo>
                    <a:pt x="188967" y="342062"/>
                    <a:pt x="342110" y="188966"/>
                    <a:pt x="342424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1776802B-1225-47B9-ADE2-16699F236B3E}"/>
                </a:ext>
              </a:extLst>
            </p:cNvPr>
            <p:cNvSpPr/>
            <p:nvPr/>
          </p:nvSpPr>
          <p:spPr>
            <a:xfrm>
              <a:off x="13016008" y="5177915"/>
              <a:ext cx="682250" cy="683200"/>
            </a:xfrm>
            <a:custGeom>
              <a:avLst/>
              <a:gdLst>
                <a:gd name="connsiteX0" fmla="*/ 0 w 342423"/>
                <a:gd name="connsiteY0" fmla="*/ 0 h 342900"/>
                <a:gd name="connsiteX1" fmla="*/ 0 w 342423"/>
                <a:gd name="connsiteY1" fmla="*/ 0 h 342900"/>
                <a:gd name="connsiteX2" fmla="*/ 342424 w 342423"/>
                <a:gd name="connsiteY2" fmla="*/ 342900 h 342900"/>
                <a:gd name="connsiteX3" fmla="*/ 342424 w 342423"/>
                <a:gd name="connsiteY3" fmla="*/ 342900 h 342900"/>
                <a:gd name="connsiteX4" fmla="*/ 0 w 342423"/>
                <a:gd name="connsiteY4" fmla="*/ 667 h 342900"/>
                <a:gd name="connsiteX5" fmla="*/ 0 w 342423"/>
                <a:gd name="connsiteY5" fmla="*/ 0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423" h="342900">
                  <a:moveTo>
                    <a:pt x="0" y="0"/>
                  </a:moveTo>
                  <a:lnTo>
                    <a:pt x="0" y="0"/>
                  </a:lnTo>
                  <a:cubicBezTo>
                    <a:pt x="189195" y="267"/>
                    <a:pt x="342424" y="153705"/>
                    <a:pt x="342424" y="342900"/>
                  </a:cubicBezTo>
                  <a:lnTo>
                    <a:pt x="342424" y="342900"/>
                  </a:lnTo>
                  <a:cubicBezTo>
                    <a:pt x="153362" y="342957"/>
                    <a:pt x="48" y="189729"/>
                    <a:pt x="0" y="667"/>
                  </a:cubicBezTo>
                  <a:cubicBezTo>
                    <a:pt x="0" y="448"/>
                    <a:pt x="0" y="219"/>
                    <a:pt x="0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C8A5505F-DB5B-4377-A4F7-DC59BF6015B8}"/>
                </a:ext>
              </a:extLst>
            </p:cNvPr>
            <p:cNvSpPr/>
            <p:nvPr/>
          </p:nvSpPr>
          <p:spPr>
            <a:xfrm>
              <a:off x="13698259" y="5861115"/>
              <a:ext cx="682061" cy="682061"/>
            </a:xfrm>
            <a:custGeom>
              <a:avLst/>
              <a:gdLst>
                <a:gd name="connsiteX0" fmla="*/ 0 w 342328"/>
                <a:gd name="connsiteY0" fmla="*/ 0 h 342328"/>
                <a:gd name="connsiteX1" fmla="*/ 0 w 342328"/>
                <a:gd name="connsiteY1" fmla="*/ 0 h 342328"/>
                <a:gd name="connsiteX2" fmla="*/ 342329 w 342328"/>
                <a:gd name="connsiteY2" fmla="*/ 342329 h 342328"/>
                <a:gd name="connsiteX3" fmla="*/ 342329 w 342328"/>
                <a:gd name="connsiteY3" fmla="*/ 342329 h 342328"/>
                <a:gd name="connsiteX4" fmla="*/ 0 w 342328"/>
                <a:gd name="connsiteY4" fmla="*/ 0 h 34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28" h="342328">
                  <a:moveTo>
                    <a:pt x="0" y="0"/>
                  </a:moveTo>
                  <a:lnTo>
                    <a:pt x="0" y="0"/>
                  </a:lnTo>
                  <a:cubicBezTo>
                    <a:pt x="189062" y="0"/>
                    <a:pt x="342329" y="153267"/>
                    <a:pt x="342329" y="342329"/>
                  </a:cubicBezTo>
                  <a:lnTo>
                    <a:pt x="342329" y="342329"/>
                  </a:lnTo>
                  <a:cubicBezTo>
                    <a:pt x="153267" y="342329"/>
                    <a:pt x="0" y="189062"/>
                    <a:pt x="0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66407B37-5E81-42F0-846C-F5789F2CE302}"/>
                </a:ext>
              </a:extLst>
            </p:cNvPr>
            <p:cNvSpPr/>
            <p:nvPr/>
          </p:nvSpPr>
          <p:spPr>
            <a:xfrm>
              <a:off x="13698259" y="5177915"/>
              <a:ext cx="682061" cy="683200"/>
            </a:xfrm>
            <a:custGeom>
              <a:avLst/>
              <a:gdLst>
                <a:gd name="connsiteX0" fmla="*/ 342329 w 342328"/>
                <a:gd name="connsiteY0" fmla="*/ 0 h 342900"/>
                <a:gd name="connsiteX1" fmla="*/ 342329 w 342328"/>
                <a:gd name="connsiteY1" fmla="*/ 0 h 342900"/>
                <a:gd name="connsiteX2" fmla="*/ 0 w 342328"/>
                <a:gd name="connsiteY2" fmla="*/ 342900 h 342900"/>
                <a:gd name="connsiteX3" fmla="*/ 0 w 342328"/>
                <a:gd name="connsiteY3" fmla="*/ 342900 h 342900"/>
                <a:gd name="connsiteX4" fmla="*/ 342329 w 342328"/>
                <a:gd name="connsiteY4" fmla="*/ 571 h 342900"/>
                <a:gd name="connsiteX5" fmla="*/ 342329 w 342328"/>
                <a:gd name="connsiteY5" fmla="*/ 0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328" h="342900">
                  <a:moveTo>
                    <a:pt x="342329" y="0"/>
                  </a:moveTo>
                  <a:lnTo>
                    <a:pt x="342329" y="0"/>
                  </a:lnTo>
                  <a:cubicBezTo>
                    <a:pt x="153172" y="315"/>
                    <a:pt x="0" y="153743"/>
                    <a:pt x="0" y="342900"/>
                  </a:cubicBezTo>
                  <a:lnTo>
                    <a:pt x="0" y="342900"/>
                  </a:lnTo>
                  <a:cubicBezTo>
                    <a:pt x="189062" y="342900"/>
                    <a:pt x="342329" y="189633"/>
                    <a:pt x="342329" y="571"/>
                  </a:cubicBezTo>
                  <a:cubicBezTo>
                    <a:pt x="342329" y="381"/>
                    <a:pt x="342329" y="191"/>
                    <a:pt x="342329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CC08D161-C6AE-488F-AD0C-BE2F7C30338A}"/>
                </a:ext>
              </a:extLst>
            </p:cNvPr>
            <p:cNvSpPr/>
            <p:nvPr/>
          </p:nvSpPr>
          <p:spPr>
            <a:xfrm>
              <a:off x="14379371" y="5861113"/>
              <a:ext cx="683200" cy="682063"/>
            </a:xfrm>
            <a:custGeom>
              <a:avLst/>
              <a:gdLst>
                <a:gd name="connsiteX0" fmla="*/ 342900 w 342900"/>
                <a:gd name="connsiteY0" fmla="*/ 0 h 342329"/>
                <a:gd name="connsiteX1" fmla="*/ 342900 w 342900"/>
                <a:gd name="connsiteY1" fmla="*/ 0 h 342329"/>
                <a:gd name="connsiteX2" fmla="*/ 0 w 342900"/>
                <a:gd name="connsiteY2" fmla="*/ 341758 h 342329"/>
                <a:gd name="connsiteX3" fmla="*/ 0 w 342900"/>
                <a:gd name="connsiteY3" fmla="*/ 342329 h 342329"/>
                <a:gd name="connsiteX4" fmla="*/ 0 w 342900"/>
                <a:gd name="connsiteY4" fmla="*/ 342329 h 342329"/>
                <a:gd name="connsiteX5" fmla="*/ 342900 w 342900"/>
                <a:gd name="connsiteY5" fmla="*/ 0 h 342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900" h="342329">
                  <a:moveTo>
                    <a:pt x="342900" y="0"/>
                  </a:moveTo>
                  <a:lnTo>
                    <a:pt x="342900" y="0"/>
                  </a:lnTo>
                  <a:cubicBezTo>
                    <a:pt x="153838" y="-314"/>
                    <a:pt x="314" y="152696"/>
                    <a:pt x="0" y="341758"/>
                  </a:cubicBezTo>
                  <a:cubicBezTo>
                    <a:pt x="0" y="341948"/>
                    <a:pt x="0" y="342138"/>
                    <a:pt x="0" y="342329"/>
                  </a:cubicBezTo>
                  <a:lnTo>
                    <a:pt x="0" y="342329"/>
                  </a:lnTo>
                  <a:cubicBezTo>
                    <a:pt x="189157" y="342329"/>
                    <a:pt x="342586" y="189158"/>
                    <a:pt x="342900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66C73A47-D226-4460-A324-E29A777B09E4}"/>
                </a:ext>
              </a:extLst>
            </p:cNvPr>
            <p:cNvSpPr/>
            <p:nvPr/>
          </p:nvSpPr>
          <p:spPr>
            <a:xfrm>
              <a:off x="14380320" y="5177915"/>
              <a:ext cx="683200" cy="683200"/>
            </a:xfrm>
            <a:custGeom>
              <a:avLst/>
              <a:gdLst>
                <a:gd name="connsiteX0" fmla="*/ 0 w 342900"/>
                <a:gd name="connsiteY0" fmla="*/ 0 h 342900"/>
                <a:gd name="connsiteX1" fmla="*/ 0 w 342900"/>
                <a:gd name="connsiteY1" fmla="*/ 0 h 342900"/>
                <a:gd name="connsiteX2" fmla="*/ 342900 w 342900"/>
                <a:gd name="connsiteY2" fmla="*/ 342900 h 342900"/>
                <a:gd name="connsiteX3" fmla="*/ 342900 w 342900"/>
                <a:gd name="connsiteY3" fmla="*/ 342900 h 342900"/>
                <a:gd name="connsiteX4" fmla="*/ 0 w 342900"/>
                <a:gd name="connsiteY4" fmla="*/ 1143 h 342900"/>
                <a:gd name="connsiteX5" fmla="*/ 0 w 342900"/>
                <a:gd name="connsiteY5" fmla="*/ 0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900" h="342900">
                  <a:moveTo>
                    <a:pt x="0" y="0"/>
                  </a:moveTo>
                  <a:lnTo>
                    <a:pt x="0" y="0"/>
                  </a:lnTo>
                  <a:cubicBezTo>
                    <a:pt x="189376" y="0"/>
                    <a:pt x="342900" y="153524"/>
                    <a:pt x="342900" y="342900"/>
                  </a:cubicBezTo>
                  <a:lnTo>
                    <a:pt x="342900" y="342900"/>
                  </a:lnTo>
                  <a:cubicBezTo>
                    <a:pt x="153838" y="343215"/>
                    <a:pt x="314" y="190205"/>
                    <a:pt x="0" y="1143"/>
                  </a:cubicBezTo>
                  <a:cubicBezTo>
                    <a:pt x="0" y="762"/>
                    <a:pt x="0" y="381"/>
                    <a:pt x="0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99619DDB-D79C-4FAB-8035-C9DD7294A461}"/>
                </a:ext>
              </a:extLst>
            </p:cNvPr>
            <p:cNvSpPr/>
            <p:nvPr/>
          </p:nvSpPr>
          <p:spPr>
            <a:xfrm>
              <a:off x="15062571" y="5861115"/>
              <a:ext cx="682061" cy="682061"/>
            </a:xfrm>
            <a:custGeom>
              <a:avLst/>
              <a:gdLst>
                <a:gd name="connsiteX0" fmla="*/ 0 w 342328"/>
                <a:gd name="connsiteY0" fmla="*/ 0 h 342328"/>
                <a:gd name="connsiteX1" fmla="*/ 0 w 342328"/>
                <a:gd name="connsiteY1" fmla="*/ 0 h 342328"/>
                <a:gd name="connsiteX2" fmla="*/ 342329 w 342328"/>
                <a:gd name="connsiteY2" fmla="*/ 342329 h 342328"/>
                <a:gd name="connsiteX3" fmla="*/ 342329 w 342328"/>
                <a:gd name="connsiteY3" fmla="*/ 342329 h 342328"/>
                <a:gd name="connsiteX4" fmla="*/ 0 w 342328"/>
                <a:gd name="connsiteY4" fmla="*/ 0 h 34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28" h="342328">
                  <a:moveTo>
                    <a:pt x="0" y="0"/>
                  </a:moveTo>
                  <a:lnTo>
                    <a:pt x="0" y="0"/>
                  </a:lnTo>
                  <a:cubicBezTo>
                    <a:pt x="189062" y="0"/>
                    <a:pt x="342329" y="153267"/>
                    <a:pt x="342329" y="342329"/>
                  </a:cubicBezTo>
                  <a:lnTo>
                    <a:pt x="342329" y="342329"/>
                  </a:lnTo>
                  <a:cubicBezTo>
                    <a:pt x="153267" y="342329"/>
                    <a:pt x="0" y="189062"/>
                    <a:pt x="0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CE52B49A-8D4B-4BEE-A47C-6893003E37C6}"/>
                </a:ext>
              </a:extLst>
            </p:cNvPr>
            <p:cNvSpPr/>
            <p:nvPr/>
          </p:nvSpPr>
          <p:spPr>
            <a:xfrm>
              <a:off x="15062571" y="5177915"/>
              <a:ext cx="682061" cy="683200"/>
            </a:xfrm>
            <a:custGeom>
              <a:avLst/>
              <a:gdLst>
                <a:gd name="connsiteX0" fmla="*/ 342329 w 342328"/>
                <a:gd name="connsiteY0" fmla="*/ 0 h 342900"/>
                <a:gd name="connsiteX1" fmla="*/ 342329 w 342328"/>
                <a:gd name="connsiteY1" fmla="*/ 0 h 342900"/>
                <a:gd name="connsiteX2" fmla="*/ 0 w 342328"/>
                <a:gd name="connsiteY2" fmla="*/ 342900 h 342900"/>
                <a:gd name="connsiteX3" fmla="*/ 0 w 342328"/>
                <a:gd name="connsiteY3" fmla="*/ 342900 h 342900"/>
                <a:gd name="connsiteX4" fmla="*/ 342329 w 342328"/>
                <a:gd name="connsiteY4" fmla="*/ 571 h 342900"/>
                <a:gd name="connsiteX5" fmla="*/ 342329 w 342328"/>
                <a:gd name="connsiteY5" fmla="*/ 0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328" h="342900">
                  <a:moveTo>
                    <a:pt x="342329" y="0"/>
                  </a:moveTo>
                  <a:lnTo>
                    <a:pt x="342329" y="0"/>
                  </a:lnTo>
                  <a:cubicBezTo>
                    <a:pt x="153171" y="315"/>
                    <a:pt x="0" y="153743"/>
                    <a:pt x="0" y="342900"/>
                  </a:cubicBezTo>
                  <a:lnTo>
                    <a:pt x="0" y="342900"/>
                  </a:lnTo>
                  <a:cubicBezTo>
                    <a:pt x="189062" y="342900"/>
                    <a:pt x="342329" y="189633"/>
                    <a:pt x="342329" y="571"/>
                  </a:cubicBezTo>
                  <a:cubicBezTo>
                    <a:pt x="342329" y="381"/>
                    <a:pt x="342329" y="191"/>
                    <a:pt x="342329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5EA241ED-BE29-4288-943F-217EA49173EA}"/>
                </a:ext>
              </a:extLst>
            </p:cNvPr>
            <p:cNvSpPr/>
            <p:nvPr/>
          </p:nvSpPr>
          <p:spPr>
            <a:xfrm>
              <a:off x="15744632" y="5861113"/>
              <a:ext cx="682250" cy="682061"/>
            </a:xfrm>
            <a:custGeom>
              <a:avLst/>
              <a:gdLst>
                <a:gd name="connsiteX0" fmla="*/ 342424 w 342423"/>
                <a:gd name="connsiteY0" fmla="*/ 0 h 342328"/>
                <a:gd name="connsiteX1" fmla="*/ 342424 w 342423"/>
                <a:gd name="connsiteY1" fmla="*/ 0 h 342328"/>
                <a:gd name="connsiteX2" fmla="*/ 0 w 342423"/>
                <a:gd name="connsiteY2" fmla="*/ 342233 h 342328"/>
                <a:gd name="connsiteX3" fmla="*/ 0 w 342423"/>
                <a:gd name="connsiteY3" fmla="*/ 342329 h 342328"/>
                <a:gd name="connsiteX4" fmla="*/ 0 w 342423"/>
                <a:gd name="connsiteY4" fmla="*/ 342329 h 342328"/>
                <a:gd name="connsiteX5" fmla="*/ 342424 w 342423"/>
                <a:gd name="connsiteY5" fmla="*/ 0 h 34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423" h="342328">
                  <a:moveTo>
                    <a:pt x="342424" y="0"/>
                  </a:moveTo>
                  <a:lnTo>
                    <a:pt x="342424" y="0"/>
                  </a:lnTo>
                  <a:cubicBezTo>
                    <a:pt x="153362" y="-48"/>
                    <a:pt x="57" y="153171"/>
                    <a:pt x="0" y="342233"/>
                  </a:cubicBezTo>
                  <a:cubicBezTo>
                    <a:pt x="0" y="342262"/>
                    <a:pt x="0" y="342300"/>
                    <a:pt x="0" y="342329"/>
                  </a:cubicBezTo>
                  <a:lnTo>
                    <a:pt x="0" y="342329"/>
                  </a:lnTo>
                  <a:cubicBezTo>
                    <a:pt x="188966" y="342062"/>
                    <a:pt x="342109" y="188966"/>
                    <a:pt x="342424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43126E0D-7DA3-4944-8427-E0C49C4187B9}"/>
                </a:ext>
              </a:extLst>
            </p:cNvPr>
            <p:cNvSpPr/>
            <p:nvPr/>
          </p:nvSpPr>
          <p:spPr>
            <a:xfrm>
              <a:off x="15744632" y="5177915"/>
              <a:ext cx="682250" cy="683200"/>
            </a:xfrm>
            <a:custGeom>
              <a:avLst/>
              <a:gdLst>
                <a:gd name="connsiteX0" fmla="*/ 0 w 342423"/>
                <a:gd name="connsiteY0" fmla="*/ 0 h 342900"/>
                <a:gd name="connsiteX1" fmla="*/ 0 w 342423"/>
                <a:gd name="connsiteY1" fmla="*/ 0 h 342900"/>
                <a:gd name="connsiteX2" fmla="*/ 342424 w 342423"/>
                <a:gd name="connsiteY2" fmla="*/ 342900 h 342900"/>
                <a:gd name="connsiteX3" fmla="*/ 342424 w 342423"/>
                <a:gd name="connsiteY3" fmla="*/ 342900 h 342900"/>
                <a:gd name="connsiteX4" fmla="*/ 0 w 342423"/>
                <a:gd name="connsiteY4" fmla="*/ 667 h 342900"/>
                <a:gd name="connsiteX5" fmla="*/ 0 w 342423"/>
                <a:gd name="connsiteY5" fmla="*/ 0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423" h="342900">
                  <a:moveTo>
                    <a:pt x="0" y="0"/>
                  </a:moveTo>
                  <a:lnTo>
                    <a:pt x="0" y="0"/>
                  </a:lnTo>
                  <a:cubicBezTo>
                    <a:pt x="189195" y="267"/>
                    <a:pt x="342424" y="153705"/>
                    <a:pt x="342424" y="342900"/>
                  </a:cubicBezTo>
                  <a:lnTo>
                    <a:pt x="342424" y="342900"/>
                  </a:lnTo>
                  <a:cubicBezTo>
                    <a:pt x="153362" y="342957"/>
                    <a:pt x="57" y="189729"/>
                    <a:pt x="0" y="667"/>
                  </a:cubicBezTo>
                  <a:cubicBezTo>
                    <a:pt x="0" y="448"/>
                    <a:pt x="0" y="219"/>
                    <a:pt x="0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287F517D-8183-4672-A7BE-6CBF5C4E1FEB}"/>
                </a:ext>
              </a:extLst>
            </p:cNvPr>
            <p:cNvSpPr/>
            <p:nvPr/>
          </p:nvSpPr>
          <p:spPr>
            <a:xfrm>
              <a:off x="16426883" y="5861115"/>
              <a:ext cx="682061" cy="682061"/>
            </a:xfrm>
            <a:custGeom>
              <a:avLst/>
              <a:gdLst>
                <a:gd name="connsiteX0" fmla="*/ 0 w 342328"/>
                <a:gd name="connsiteY0" fmla="*/ 0 h 342328"/>
                <a:gd name="connsiteX1" fmla="*/ 0 w 342328"/>
                <a:gd name="connsiteY1" fmla="*/ 0 h 342328"/>
                <a:gd name="connsiteX2" fmla="*/ 342329 w 342328"/>
                <a:gd name="connsiteY2" fmla="*/ 342329 h 342328"/>
                <a:gd name="connsiteX3" fmla="*/ 342329 w 342328"/>
                <a:gd name="connsiteY3" fmla="*/ 342329 h 342328"/>
                <a:gd name="connsiteX4" fmla="*/ 0 w 342328"/>
                <a:gd name="connsiteY4" fmla="*/ 0 h 34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28" h="342328">
                  <a:moveTo>
                    <a:pt x="0" y="0"/>
                  </a:moveTo>
                  <a:lnTo>
                    <a:pt x="0" y="0"/>
                  </a:lnTo>
                  <a:cubicBezTo>
                    <a:pt x="189062" y="0"/>
                    <a:pt x="342329" y="153267"/>
                    <a:pt x="342329" y="342329"/>
                  </a:cubicBezTo>
                  <a:lnTo>
                    <a:pt x="342329" y="342329"/>
                  </a:lnTo>
                  <a:cubicBezTo>
                    <a:pt x="153267" y="342329"/>
                    <a:pt x="0" y="189062"/>
                    <a:pt x="0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95D636BC-9CEC-4E63-9802-5774D35C6E32}"/>
                </a:ext>
              </a:extLst>
            </p:cNvPr>
            <p:cNvSpPr/>
            <p:nvPr/>
          </p:nvSpPr>
          <p:spPr>
            <a:xfrm>
              <a:off x="16426883" y="5177915"/>
              <a:ext cx="682061" cy="683200"/>
            </a:xfrm>
            <a:custGeom>
              <a:avLst/>
              <a:gdLst>
                <a:gd name="connsiteX0" fmla="*/ 342329 w 342328"/>
                <a:gd name="connsiteY0" fmla="*/ 0 h 342900"/>
                <a:gd name="connsiteX1" fmla="*/ 342329 w 342328"/>
                <a:gd name="connsiteY1" fmla="*/ 0 h 342900"/>
                <a:gd name="connsiteX2" fmla="*/ 0 w 342328"/>
                <a:gd name="connsiteY2" fmla="*/ 342900 h 342900"/>
                <a:gd name="connsiteX3" fmla="*/ 0 w 342328"/>
                <a:gd name="connsiteY3" fmla="*/ 342900 h 342900"/>
                <a:gd name="connsiteX4" fmla="*/ 342329 w 342328"/>
                <a:gd name="connsiteY4" fmla="*/ 571 h 342900"/>
                <a:gd name="connsiteX5" fmla="*/ 342329 w 342328"/>
                <a:gd name="connsiteY5" fmla="*/ 0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328" h="342900">
                  <a:moveTo>
                    <a:pt x="342329" y="0"/>
                  </a:moveTo>
                  <a:lnTo>
                    <a:pt x="342329" y="0"/>
                  </a:lnTo>
                  <a:cubicBezTo>
                    <a:pt x="153171" y="315"/>
                    <a:pt x="0" y="153743"/>
                    <a:pt x="0" y="342900"/>
                  </a:cubicBezTo>
                  <a:lnTo>
                    <a:pt x="0" y="342900"/>
                  </a:lnTo>
                  <a:cubicBezTo>
                    <a:pt x="189062" y="342900"/>
                    <a:pt x="342329" y="189633"/>
                    <a:pt x="342329" y="571"/>
                  </a:cubicBezTo>
                  <a:cubicBezTo>
                    <a:pt x="342329" y="381"/>
                    <a:pt x="342329" y="191"/>
                    <a:pt x="342329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5731C333-2BEC-407B-9AF9-A0AA8E0CF253}"/>
                </a:ext>
              </a:extLst>
            </p:cNvPr>
            <p:cNvSpPr/>
            <p:nvPr/>
          </p:nvSpPr>
          <p:spPr>
            <a:xfrm>
              <a:off x="17108945" y="5861113"/>
              <a:ext cx="682250" cy="682061"/>
            </a:xfrm>
            <a:custGeom>
              <a:avLst/>
              <a:gdLst>
                <a:gd name="connsiteX0" fmla="*/ 342424 w 342423"/>
                <a:gd name="connsiteY0" fmla="*/ 0 h 342328"/>
                <a:gd name="connsiteX1" fmla="*/ 342424 w 342423"/>
                <a:gd name="connsiteY1" fmla="*/ 0 h 342328"/>
                <a:gd name="connsiteX2" fmla="*/ 0 w 342423"/>
                <a:gd name="connsiteY2" fmla="*/ 342233 h 342328"/>
                <a:gd name="connsiteX3" fmla="*/ 0 w 342423"/>
                <a:gd name="connsiteY3" fmla="*/ 342329 h 342328"/>
                <a:gd name="connsiteX4" fmla="*/ 0 w 342423"/>
                <a:gd name="connsiteY4" fmla="*/ 342329 h 342328"/>
                <a:gd name="connsiteX5" fmla="*/ 342424 w 342423"/>
                <a:gd name="connsiteY5" fmla="*/ 0 h 34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423" h="342328">
                  <a:moveTo>
                    <a:pt x="342424" y="0"/>
                  </a:moveTo>
                  <a:lnTo>
                    <a:pt x="342424" y="0"/>
                  </a:lnTo>
                  <a:cubicBezTo>
                    <a:pt x="153362" y="-48"/>
                    <a:pt x="57" y="153171"/>
                    <a:pt x="0" y="342233"/>
                  </a:cubicBezTo>
                  <a:cubicBezTo>
                    <a:pt x="0" y="342262"/>
                    <a:pt x="0" y="342300"/>
                    <a:pt x="0" y="342329"/>
                  </a:cubicBezTo>
                  <a:lnTo>
                    <a:pt x="0" y="342329"/>
                  </a:lnTo>
                  <a:cubicBezTo>
                    <a:pt x="188966" y="342062"/>
                    <a:pt x="342109" y="188966"/>
                    <a:pt x="342424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88024081-0A6E-46DE-81F9-37E443414F79}"/>
                </a:ext>
              </a:extLst>
            </p:cNvPr>
            <p:cNvSpPr/>
            <p:nvPr/>
          </p:nvSpPr>
          <p:spPr>
            <a:xfrm>
              <a:off x="17108945" y="5177915"/>
              <a:ext cx="682250" cy="683200"/>
            </a:xfrm>
            <a:custGeom>
              <a:avLst/>
              <a:gdLst>
                <a:gd name="connsiteX0" fmla="*/ 0 w 342423"/>
                <a:gd name="connsiteY0" fmla="*/ 0 h 342900"/>
                <a:gd name="connsiteX1" fmla="*/ 0 w 342423"/>
                <a:gd name="connsiteY1" fmla="*/ 0 h 342900"/>
                <a:gd name="connsiteX2" fmla="*/ 342424 w 342423"/>
                <a:gd name="connsiteY2" fmla="*/ 342900 h 342900"/>
                <a:gd name="connsiteX3" fmla="*/ 342424 w 342423"/>
                <a:gd name="connsiteY3" fmla="*/ 342900 h 342900"/>
                <a:gd name="connsiteX4" fmla="*/ 0 w 342423"/>
                <a:gd name="connsiteY4" fmla="*/ 667 h 342900"/>
                <a:gd name="connsiteX5" fmla="*/ 0 w 342423"/>
                <a:gd name="connsiteY5" fmla="*/ 0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423" h="342900">
                  <a:moveTo>
                    <a:pt x="0" y="0"/>
                  </a:moveTo>
                  <a:lnTo>
                    <a:pt x="0" y="0"/>
                  </a:lnTo>
                  <a:cubicBezTo>
                    <a:pt x="189195" y="267"/>
                    <a:pt x="342424" y="153705"/>
                    <a:pt x="342424" y="342900"/>
                  </a:cubicBezTo>
                  <a:lnTo>
                    <a:pt x="342424" y="342900"/>
                  </a:lnTo>
                  <a:cubicBezTo>
                    <a:pt x="153362" y="342957"/>
                    <a:pt x="57" y="189729"/>
                    <a:pt x="0" y="667"/>
                  </a:cubicBezTo>
                  <a:cubicBezTo>
                    <a:pt x="0" y="448"/>
                    <a:pt x="0" y="219"/>
                    <a:pt x="0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DDE8A249-46C4-43E9-8303-5FB27D7F7A3C}"/>
                </a:ext>
              </a:extLst>
            </p:cNvPr>
            <p:cNvSpPr/>
            <p:nvPr/>
          </p:nvSpPr>
          <p:spPr>
            <a:xfrm>
              <a:off x="17791195" y="5861115"/>
              <a:ext cx="682061" cy="682061"/>
            </a:xfrm>
            <a:custGeom>
              <a:avLst/>
              <a:gdLst>
                <a:gd name="connsiteX0" fmla="*/ 0 w 342328"/>
                <a:gd name="connsiteY0" fmla="*/ 0 h 342328"/>
                <a:gd name="connsiteX1" fmla="*/ 0 w 342328"/>
                <a:gd name="connsiteY1" fmla="*/ 0 h 342328"/>
                <a:gd name="connsiteX2" fmla="*/ 342329 w 342328"/>
                <a:gd name="connsiteY2" fmla="*/ 342329 h 342328"/>
                <a:gd name="connsiteX3" fmla="*/ 342329 w 342328"/>
                <a:gd name="connsiteY3" fmla="*/ 342329 h 342328"/>
                <a:gd name="connsiteX4" fmla="*/ 0 w 342328"/>
                <a:gd name="connsiteY4" fmla="*/ 0 h 34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28" h="342328">
                  <a:moveTo>
                    <a:pt x="0" y="0"/>
                  </a:moveTo>
                  <a:lnTo>
                    <a:pt x="0" y="0"/>
                  </a:lnTo>
                  <a:cubicBezTo>
                    <a:pt x="189062" y="0"/>
                    <a:pt x="342329" y="153267"/>
                    <a:pt x="342329" y="342329"/>
                  </a:cubicBezTo>
                  <a:lnTo>
                    <a:pt x="342329" y="342329"/>
                  </a:lnTo>
                  <a:cubicBezTo>
                    <a:pt x="153267" y="342329"/>
                    <a:pt x="0" y="189062"/>
                    <a:pt x="0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DBCA6A1B-F490-4C9C-A884-47C717CAC6B4}"/>
                </a:ext>
              </a:extLst>
            </p:cNvPr>
            <p:cNvSpPr/>
            <p:nvPr/>
          </p:nvSpPr>
          <p:spPr>
            <a:xfrm>
              <a:off x="17791195" y="5177915"/>
              <a:ext cx="682061" cy="683200"/>
            </a:xfrm>
            <a:custGeom>
              <a:avLst/>
              <a:gdLst>
                <a:gd name="connsiteX0" fmla="*/ 342329 w 342328"/>
                <a:gd name="connsiteY0" fmla="*/ 0 h 342900"/>
                <a:gd name="connsiteX1" fmla="*/ 342329 w 342328"/>
                <a:gd name="connsiteY1" fmla="*/ 0 h 342900"/>
                <a:gd name="connsiteX2" fmla="*/ 0 w 342328"/>
                <a:gd name="connsiteY2" fmla="*/ 342900 h 342900"/>
                <a:gd name="connsiteX3" fmla="*/ 0 w 342328"/>
                <a:gd name="connsiteY3" fmla="*/ 342900 h 342900"/>
                <a:gd name="connsiteX4" fmla="*/ 342329 w 342328"/>
                <a:gd name="connsiteY4" fmla="*/ 571 h 342900"/>
                <a:gd name="connsiteX5" fmla="*/ 342329 w 342328"/>
                <a:gd name="connsiteY5" fmla="*/ 0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328" h="342900">
                  <a:moveTo>
                    <a:pt x="342329" y="0"/>
                  </a:moveTo>
                  <a:lnTo>
                    <a:pt x="342329" y="0"/>
                  </a:lnTo>
                  <a:cubicBezTo>
                    <a:pt x="153171" y="315"/>
                    <a:pt x="0" y="153743"/>
                    <a:pt x="0" y="342900"/>
                  </a:cubicBezTo>
                  <a:lnTo>
                    <a:pt x="0" y="342900"/>
                  </a:lnTo>
                  <a:cubicBezTo>
                    <a:pt x="189062" y="342900"/>
                    <a:pt x="342329" y="189633"/>
                    <a:pt x="342329" y="571"/>
                  </a:cubicBezTo>
                  <a:cubicBezTo>
                    <a:pt x="342329" y="381"/>
                    <a:pt x="342329" y="191"/>
                    <a:pt x="342329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F29FA262-B008-4424-825C-C0E8138E1D7B}"/>
                </a:ext>
              </a:extLst>
            </p:cNvPr>
            <p:cNvSpPr/>
            <p:nvPr/>
          </p:nvSpPr>
          <p:spPr>
            <a:xfrm>
              <a:off x="18472309" y="5861113"/>
              <a:ext cx="683200" cy="682063"/>
            </a:xfrm>
            <a:custGeom>
              <a:avLst/>
              <a:gdLst>
                <a:gd name="connsiteX0" fmla="*/ 342900 w 342900"/>
                <a:gd name="connsiteY0" fmla="*/ 0 h 342329"/>
                <a:gd name="connsiteX1" fmla="*/ 342900 w 342900"/>
                <a:gd name="connsiteY1" fmla="*/ 0 h 342329"/>
                <a:gd name="connsiteX2" fmla="*/ 0 w 342900"/>
                <a:gd name="connsiteY2" fmla="*/ 341758 h 342329"/>
                <a:gd name="connsiteX3" fmla="*/ 0 w 342900"/>
                <a:gd name="connsiteY3" fmla="*/ 342329 h 342329"/>
                <a:gd name="connsiteX4" fmla="*/ 0 w 342900"/>
                <a:gd name="connsiteY4" fmla="*/ 342329 h 342329"/>
                <a:gd name="connsiteX5" fmla="*/ 342900 w 342900"/>
                <a:gd name="connsiteY5" fmla="*/ 0 h 342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900" h="342329">
                  <a:moveTo>
                    <a:pt x="342900" y="0"/>
                  </a:moveTo>
                  <a:lnTo>
                    <a:pt x="342900" y="0"/>
                  </a:lnTo>
                  <a:cubicBezTo>
                    <a:pt x="153838" y="-314"/>
                    <a:pt x="314" y="152696"/>
                    <a:pt x="0" y="341758"/>
                  </a:cubicBezTo>
                  <a:cubicBezTo>
                    <a:pt x="0" y="341948"/>
                    <a:pt x="0" y="342138"/>
                    <a:pt x="0" y="342329"/>
                  </a:cubicBezTo>
                  <a:lnTo>
                    <a:pt x="0" y="342329"/>
                  </a:lnTo>
                  <a:cubicBezTo>
                    <a:pt x="189157" y="342329"/>
                    <a:pt x="342585" y="189158"/>
                    <a:pt x="342900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8BD76415-ED70-4F0B-A88C-7E9BB9828FA3}"/>
                </a:ext>
              </a:extLst>
            </p:cNvPr>
            <p:cNvSpPr/>
            <p:nvPr/>
          </p:nvSpPr>
          <p:spPr>
            <a:xfrm>
              <a:off x="18473257" y="5177915"/>
              <a:ext cx="683200" cy="683200"/>
            </a:xfrm>
            <a:custGeom>
              <a:avLst/>
              <a:gdLst>
                <a:gd name="connsiteX0" fmla="*/ 0 w 342900"/>
                <a:gd name="connsiteY0" fmla="*/ 0 h 342900"/>
                <a:gd name="connsiteX1" fmla="*/ 0 w 342900"/>
                <a:gd name="connsiteY1" fmla="*/ 0 h 342900"/>
                <a:gd name="connsiteX2" fmla="*/ 342900 w 342900"/>
                <a:gd name="connsiteY2" fmla="*/ 342900 h 342900"/>
                <a:gd name="connsiteX3" fmla="*/ 342900 w 342900"/>
                <a:gd name="connsiteY3" fmla="*/ 342900 h 342900"/>
                <a:gd name="connsiteX4" fmla="*/ 0 w 342900"/>
                <a:gd name="connsiteY4" fmla="*/ 1143 h 342900"/>
                <a:gd name="connsiteX5" fmla="*/ 0 w 342900"/>
                <a:gd name="connsiteY5" fmla="*/ 0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900" h="342900">
                  <a:moveTo>
                    <a:pt x="0" y="0"/>
                  </a:moveTo>
                  <a:lnTo>
                    <a:pt x="0" y="0"/>
                  </a:lnTo>
                  <a:cubicBezTo>
                    <a:pt x="189376" y="0"/>
                    <a:pt x="342900" y="153524"/>
                    <a:pt x="342900" y="342900"/>
                  </a:cubicBezTo>
                  <a:lnTo>
                    <a:pt x="342900" y="342900"/>
                  </a:lnTo>
                  <a:cubicBezTo>
                    <a:pt x="153838" y="343215"/>
                    <a:pt x="314" y="190205"/>
                    <a:pt x="0" y="1143"/>
                  </a:cubicBezTo>
                  <a:cubicBezTo>
                    <a:pt x="0" y="762"/>
                    <a:pt x="0" y="381"/>
                    <a:pt x="0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8BD3CE90-3708-4324-847C-46D00E076DBD}"/>
                </a:ext>
              </a:extLst>
            </p:cNvPr>
            <p:cNvSpPr/>
            <p:nvPr/>
          </p:nvSpPr>
          <p:spPr>
            <a:xfrm>
              <a:off x="12333945" y="4495853"/>
              <a:ext cx="682061" cy="682061"/>
            </a:xfrm>
            <a:custGeom>
              <a:avLst/>
              <a:gdLst>
                <a:gd name="connsiteX0" fmla="*/ 0 w 342328"/>
                <a:gd name="connsiteY0" fmla="*/ 95 h 342328"/>
                <a:gd name="connsiteX1" fmla="*/ 0 w 342328"/>
                <a:gd name="connsiteY1" fmla="*/ 95 h 342328"/>
                <a:gd name="connsiteX2" fmla="*/ 342329 w 342328"/>
                <a:gd name="connsiteY2" fmla="*/ 342329 h 342328"/>
                <a:gd name="connsiteX3" fmla="*/ 342329 w 342328"/>
                <a:gd name="connsiteY3" fmla="*/ 342329 h 342328"/>
                <a:gd name="connsiteX4" fmla="*/ 0 w 342328"/>
                <a:gd name="connsiteY4" fmla="*/ 0 h 34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28" h="342328">
                  <a:moveTo>
                    <a:pt x="0" y="95"/>
                  </a:moveTo>
                  <a:lnTo>
                    <a:pt x="0" y="95"/>
                  </a:lnTo>
                  <a:cubicBezTo>
                    <a:pt x="189024" y="95"/>
                    <a:pt x="342271" y="153305"/>
                    <a:pt x="342329" y="342329"/>
                  </a:cubicBezTo>
                  <a:lnTo>
                    <a:pt x="342329" y="342329"/>
                  </a:lnTo>
                  <a:cubicBezTo>
                    <a:pt x="153267" y="342329"/>
                    <a:pt x="0" y="189062"/>
                    <a:pt x="0" y="0"/>
                  </a:cubicBezTo>
                </a:path>
              </a:pathLst>
            </a:custGeom>
            <a:solidFill>
              <a:schemeClr val="bg1">
                <a:alpha val="8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2475A672-1940-41C9-904B-F52A50EF9F4A}"/>
                </a:ext>
              </a:extLst>
            </p:cNvPr>
            <p:cNvSpPr/>
            <p:nvPr/>
          </p:nvSpPr>
          <p:spPr>
            <a:xfrm>
              <a:off x="13698259" y="3813790"/>
              <a:ext cx="682061" cy="683200"/>
            </a:xfrm>
            <a:custGeom>
              <a:avLst/>
              <a:gdLst>
                <a:gd name="connsiteX0" fmla="*/ 342329 w 342328"/>
                <a:gd name="connsiteY0" fmla="*/ 0 h 342900"/>
                <a:gd name="connsiteX1" fmla="*/ 342329 w 342328"/>
                <a:gd name="connsiteY1" fmla="*/ 0 h 342900"/>
                <a:gd name="connsiteX2" fmla="*/ 0 w 342328"/>
                <a:gd name="connsiteY2" fmla="*/ 342900 h 342900"/>
                <a:gd name="connsiteX3" fmla="*/ 0 w 342328"/>
                <a:gd name="connsiteY3" fmla="*/ 342900 h 342900"/>
                <a:gd name="connsiteX4" fmla="*/ 342329 w 342328"/>
                <a:gd name="connsiteY4" fmla="*/ 571 h 342900"/>
                <a:gd name="connsiteX5" fmla="*/ 342329 w 342328"/>
                <a:gd name="connsiteY5" fmla="*/ 0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328" h="342900">
                  <a:moveTo>
                    <a:pt x="342329" y="0"/>
                  </a:moveTo>
                  <a:lnTo>
                    <a:pt x="342329" y="0"/>
                  </a:lnTo>
                  <a:cubicBezTo>
                    <a:pt x="153172" y="315"/>
                    <a:pt x="0" y="153743"/>
                    <a:pt x="0" y="342900"/>
                  </a:cubicBezTo>
                  <a:lnTo>
                    <a:pt x="0" y="342900"/>
                  </a:lnTo>
                  <a:cubicBezTo>
                    <a:pt x="189062" y="342900"/>
                    <a:pt x="342329" y="189633"/>
                    <a:pt x="342329" y="571"/>
                  </a:cubicBezTo>
                  <a:cubicBezTo>
                    <a:pt x="342329" y="381"/>
                    <a:pt x="342329" y="191"/>
                    <a:pt x="342329" y="0"/>
                  </a:cubicBezTo>
                </a:path>
              </a:pathLst>
            </a:custGeom>
            <a:solidFill>
              <a:schemeClr val="bg1">
                <a:alpha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2D4478AB-0647-4A36-9C08-BE159A957E20}"/>
                </a:ext>
              </a:extLst>
            </p:cNvPr>
            <p:cNvSpPr/>
            <p:nvPr/>
          </p:nvSpPr>
          <p:spPr>
            <a:xfrm>
              <a:off x="14379371" y="4496042"/>
              <a:ext cx="683200" cy="682063"/>
            </a:xfrm>
            <a:custGeom>
              <a:avLst/>
              <a:gdLst>
                <a:gd name="connsiteX0" fmla="*/ 342900 w 342900"/>
                <a:gd name="connsiteY0" fmla="*/ 0 h 342329"/>
                <a:gd name="connsiteX1" fmla="*/ 342900 w 342900"/>
                <a:gd name="connsiteY1" fmla="*/ 0 h 342329"/>
                <a:gd name="connsiteX2" fmla="*/ 0 w 342900"/>
                <a:gd name="connsiteY2" fmla="*/ 341758 h 342329"/>
                <a:gd name="connsiteX3" fmla="*/ 0 w 342900"/>
                <a:gd name="connsiteY3" fmla="*/ 342329 h 342329"/>
                <a:gd name="connsiteX4" fmla="*/ 0 w 342900"/>
                <a:gd name="connsiteY4" fmla="*/ 342329 h 342329"/>
                <a:gd name="connsiteX5" fmla="*/ 342900 w 342900"/>
                <a:gd name="connsiteY5" fmla="*/ 0 h 342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900" h="342329">
                  <a:moveTo>
                    <a:pt x="342900" y="0"/>
                  </a:moveTo>
                  <a:lnTo>
                    <a:pt x="342900" y="0"/>
                  </a:lnTo>
                  <a:cubicBezTo>
                    <a:pt x="153838" y="-314"/>
                    <a:pt x="314" y="152696"/>
                    <a:pt x="0" y="341758"/>
                  </a:cubicBezTo>
                  <a:cubicBezTo>
                    <a:pt x="0" y="341948"/>
                    <a:pt x="0" y="342138"/>
                    <a:pt x="0" y="342329"/>
                  </a:cubicBezTo>
                  <a:lnTo>
                    <a:pt x="0" y="342329"/>
                  </a:lnTo>
                  <a:cubicBezTo>
                    <a:pt x="189157" y="342329"/>
                    <a:pt x="342586" y="189158"/>
                    <a:pt x="342900" y="0"/>
                  </a:cubicBezTo>
                </a:path>
              </a:pathLst>
            </a:custGeom>
            <a:solidFill>
              <a:schemeClr val="bg1">
                <a:alpha val="8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1FE6635D-3CC2-4877-9F65-A1BE68EFBBDA}"/>
                </a:ext>
              </a:extLst>
            </p:cNvPr>
            <p:cNvSpPr/>
            <p:nvPr/>
          </p:nvSpPr>
          <p:spPr>
            <a:xfrm>
              <a:off x="14380320" y="3813790"/>
              <a:ext cx="683200" cy="683200"/>
            </a:xfrm>
            <a:custGeom>
              <a:avLst/>
              <a:gdLst>
                <a:gd name="connsiteX0" fmla="*/ 0 w 342900"/>
                <a:gd name="connsiteY0" fmla="*/ 0 h 342900"/>
                <a:gd name="connsiteX1" fmla="*/ 0 w 342900"/>
                <a:gd name="connsiteY1" fmla="*/ 0 h 342900"/>
                <a:gd name="connsiteX2" fmla="*/ 342900 w 342900"/>
                <a:gd name="connsiteY2" fmla="*/ 342900 h 342900"/>
                <a:gd name="connsiteX3" fmla="*/ 342900 w 342900"/>
                <a:gd name="connsiteY3" fmla="*/ 342900 h 342900"/>
                <a:gd name="connsiteX4" fmla="*/ 0 w 342900"/>
                <a:gd name="connsiteY4" fmla="*/ 1143 h 342900"/>
                <a:gd name="connsiteX5" fmla="*/ 0 w 342900"/>
                <a:gd name="connsiteY5" fmla="*/ 0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900" h="342900">
                  <a:moveTo>
                    <a:pt x="0" y="0"/>
                  </a:moveTo>
                  <a:lnTo>
                    <a:pt x="0" y="0"/>
                  </a:lnTo>
                  <a:cubicBezTo>
                    <a:pt x="189376" y="0"/>
                    <a:pt x="342900" y="153524"/>
                    <a:pt x="342900" y="342900"/>
                  </a:cubicBezTo>
                  <a:lnTo>
                    <a:pt x="342900" y="342900"/>
                  </a:lnTo>
                  <a:cubicBezTo>
                    <a:pt x="153838" y="343215"/>
                    <a:pt x="314" y="190205"/>
                    <a:pt x="0" y="1143"/>
                  </a:cubicBezTo>
                  <a:cubicBezTo>
                    <a:pt x="0" y="762"/>
                    <a:pt x="0" y="381"/>
                    <a:pt x="0" y="0"/>
                  </a:cubicBezTo>
                </a:path>
              </a:pathLst>
            </a:custGeom>
            <a:solidFill>
              <a:schemeClr val="bg1">
                <a:alpha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D92A7DA6-B743-40BA-AC01-475CA4F7B8A5}"/>
                </a:ext>
              </a:extLst>
            </p:cNvPr>
            <p:cNvSpPr/>
            <p:nvPr/>
          </p:nvSpPr>
          <p:spPr>
            <a:xfrm>
              <a:off x="16426883" y="4495853"/>
              <a:ext cx="682061" cy="682061"/>
            </a:xfrm>
            <a:custGeom>
              <a:avLst/>
              <a:gdLst>
                <a:gd name="connsiteX0" fmla="*/ 0 w 342328"/>
                <a:gd name="connsiteY0" fmla="*/ 95 h 342328"/>
                <a:gd name="connsiteX1" fmla="*/ 0 w 342328"/>
                <a:gd name="connsiteY1" fmla="*/ 95 h 342328"/>
                <a:gd name="connsiteX2" fmla="*/ 342329 w 342328"/>
                <a:gd name="connsiteY2" fmla="*/ 342329 h 342328"/>
                <a:gd name="connsiteX3" fmla="*/ 342329 w 342328"/>
                <a:gd name="connsiteY3" fmla="*/ 342329 h 342328"/>
                <a:gd name="connsiteX4" fmla="*/ 0 w 342328"/>
                <a:gd name="connsiteY4" fmla="*/ 0 h 34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28" h="342328">
                  <a:moveTo>
                    <a:pt x="0" y="95"/>
                  </a:moveTo>
                  <a:lnTo>
                    <a:pt x="0" y="95"/>
                  </a:lnTo>
                  <a:cubicBezTo>
                    <a:pt x="189024" y="95"/>
                    <a:pt x="342271" y="153305"/>
                    <a:pt x="342329" y="342329"/>
                  </a:cubicBezTo>
                  <a:lnTo>
                    <a:pt x="342329" y="342329"/>
                  </a:lnTo>
                  <a:cubicBezTo>
                    <a:pt x="153267" y="342329"/>
                    <a:pt x="0" y="189062"/>
                    <a:pt x="0" y="0"/>
                  </a:cubicBezTo>
                </a:path>
              </a:pathLst>
            </a:custGeom>
            <a:solidFill>
              <a:schemeClr val="bg1">
                <a:alpha val="8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428B3B0A-1789-4C2C-85FF-ACD274FA7B0D}"/>
                </a:ext>
              </a:extLst>
            </p:cNvPr>
            <p:cNvSpPr/>
            <p:nvPr/>
          </p:nvSpPr>
          <p:spPr>
            <a:xfrm>
              <a:off x="16426883" y="3813790"/>
              <a:ext cx="682061" cy="683200"/>
            </a:xfrm>
            <a:custGeom>
              <a:avLst/>
              <a:gdLst>
                <a:gd name="connsiteX0" fmla="*/ 342329 w 342328"/>
                <a:gd name="connsiteY0" fmla="*/ 0 h 342900"/>
                <a:gd name="connsiteX1" fmla="*/ 342329 w 342328"/>
                <a:gd name="connsiteY1" fmla="*/ 0 h 342900"/>
                <a:gd name="connsiteX2" fmla="*/ 0 w 342328"/>
                <a:gd name="connsiteY2" fmla="*/ 342900 h 342900"/>
                <a:gd name="connsiteX3" fmla="*/ 0 w 342328"/>
                <a:gd name="connsiteY3" fmla="*/ 342900 h 342900"/>
                <a:gd name="connsiteX4" fmla="*/ 342329 w 342328"/>
                <a:gd name="connsiteY4" fmla="*/ 571 h 342900"/>
                <a:gd name="connsiteX5" fmla="*/ 342329 w 342328"/>
                <a:gd name="connsiteY5" fmla="*/ 0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328" h="342900">
                  <a:moveTo>
                    <a:pt x="342329" y="0"/>
                  </a:moveTo>
                  <a:lnTo>
                    <a:pt x="342329" y="0"/>
                  </a:lnTo>
                  <a:cubicBezTo>
                    <a:pt x="153171" y="315"/>
                    <a:pt x="0" y="153743"/>
                    <a:pt x="0" y="342900"/>
                  </a:cubicBezTo>
                  <a:lnTo>
                    <a:pt x="0" y="342900"/>
                  </a:lnTo>
                  <a:cubicBezTo>
                    <a:pt x="189062" y="342900"/>
                    <a:pt x="342329" y="189633"/>
                    <a:pt x="342329" y="571"/>
                  </a:cubicBezTo>
                  <a:cubicBezTo>
                    <a:pt x="342329" y="381"/>
                    <a:pt x="342329" y="191"/>
                    <a:pt x="342329" y="0"/>
                  </a:cubicBezTo>
                </a:path>
              </a:pathLst>
            </a:custGeom>
            <a:solidFill>
              <a:schemeClr val="bg1">
                <a:alpha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796A4DE3-E494-4550-B6A2-8243374B6D6D}"/>
                </a:ext>
              </a:extLst>
            </p:cNvPr>
            <p:cNvSpPr/>
            <p:nvPr/>
          </p:nvSpPr>
          <p:spPr>
            <a:xfrm>
              <a:off x="17791195" y="4495853"/>
              <a:ext cx="682061" cy="682061"/>
            </a:xfrm>
            <a:custGeom>
              <a:avLst/>
              <a:gdLst>
                <a:gd name="connsiteX0" fmla="*/ 0 w 342328"/>
                <a:gd name="connsiteY0" fmla="*/ 95 h 342328"/>
                <a:gd name="connsiteX1" fmla="*/ 0 w 342328"/>
                <a:gd name="connsiteY1" fmla="*/ 95 h 342328"/>
                <a:gd name="connsiteX2" fmla="*/ 342329 w 342328"/>
                <a:gd name="connsiteY2" fmla="*/ 342329 h 342328"/>
                <a:gd name="connsiteX3" fmla="*/ 342329 w 342328"/>
                <a:gd name="connsiteY3" fmla="*/ 342329 h 342328"/>
                <a:gd name="connsiteX4" fmla="*/ 0 w 342328"/>
                <a:gd name="connsiteY4" fmla="*/ 0 h 34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28" h="342328">
                  <a:moveTo>
                    <a:pt x="0" y="95"/>
                  </a:moveTo>
                  <a:lnTo>
                    <a:pt x="0" y="95"/>
                  </a:lnTo>
                  <a:cubicBezTo>
                    <a:pt x="189024" y="95"/>
                    <a:pt x="342272" y="153305"/>
                    <a:pt x="342329" y="342329"/>
                  </a:cubicBezTo>
                  <a:lnTo>
                    <a:pt x="342329" y="342329"/>
                  </a:lnTo>
                  <a:cubicBezTo>
                    <a:pt x="153267" y="342329"/>
                    <a:pt x="0" y="189062"/>
                    <a:pt x="0" y="0"/>
                  </a:cubicBezTo>
                </a:path>
              </a:pathLst>
            </a:custGeom>
            <a:solidFill>
              <a:schemeClr val="bg1">
                <a:alpha val="8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E3EDBB86-4641-419C-B8CF-FD3C0A6D6F0D}"/>
                </a:ext>
              </a:extLst>
            </p:cNvPr>
            <p:cNvSpPr/>
            <p:nvPr/>
          </p:nvSpPr>
          <p:spPr>
            <a:xfrm>
              <a:off x="18472309" y="4496042"/>
              <a:ext cx="683200" cy="682063"/>
            </a:xfrm>
            <a:custGeom>
              <a:avLst/>
              <a:gdLst>
                <a:gd name="connsiteX0" fmla="*/ 342900 w 342900"/>
                <a:gd name="connsiteY0" fmla="*/ 0 h 342329"/>
                <a:gd name="connsiteX1" fmla="*/ 342900 w 342900"/>
                <a:gd name="connsiteY1" fmla="*/ 0 h 342329"/>
                <a:gd name="connsiteX2" fmla="*/ 0 w 342900"/>
                <a:gd name="connsiteY2" fmla="*/ 341758 h 342329"/>
                <a:gd name="connsiteX3" fmla="*/ 0 w 342900"/>
                <a:gd name="connsiteY3" fmla="*/ 342329 h 342329"/>
                <a:gd name="connsiteX4" fmla="*/ 0 w 342900"/>
                <a:gd name="connsiteY4" fmla="*/ 342329 h 342329"/>
                <a:gd name="connsiteX5" fmla="*/ 342900 w 342900"/>
                <a:gd name="connsiteY5" fmla="*/ 0 h 342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900" h="342329">
                  <a:moveTo>
                    <a:pt x="342900" y="0"/>
                  </a:moveTo>
                  <a:lnTo>
                    <a:pt x="342900" y="0"/>
                  </a:lnTo>
                  <a:cubicBezTo>
                    <a:pt x="153838" y="-314"/>
                    <a:pt x="314" y="152696"/>
                    <a:pt x="0" y="341758"/>
                  </a:cubicBezTo>
                  <a:cubicBezTo>
                    <a:pt x="0" y="341948"/>
                    <a:pt x="0" y="342138"/>
                    <a:pt x="0" y="342329"/>
                  </a:cubicBezTo>
                  <a:lnTo>
                    <a:pt x="0" y="342329"/>
                  </a:lnTo>
                  <a:cubicBezTo>
                    <a:pt x="189157" y="342329"/>
                    <a:pt x="342585" y="189158"/>
                    <a:pt x="342900" y="0"/>
                  </a:cubicBezTo>
                </a:path>
              </a:pathLst>
            </a:custGeom>
            <a:solidFill>
              <a:schemeClr val="bg1">
                <a:alpha val="8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CE13838B-62D1-4593-B267-2E3A4EFC7971}"/>
                </a:ext>
              </a:extLst>
            </p:cNvPr>
            <p:cNvSpPr/>
            <p:nvPr/>
          </p:nvSpPr>
          <p:spPr>
            <a:xfrm>
              <a:off x="18473257" y="3813790"/>
              <a:ext cx="683200" cy="683200"/>
            </a:xfrm>
            <a:custGeom>
              <a:avLst/>
              <a:gdLst>
                <a:gd name="connsiteX0" fmla="*/ 0 w 342900"/>
                <a:gd name="connsiteY0" fmla="*/ 0 h 342900"/>
                <a:gd name="connsiteX1" fmla="*/ 0 w 342900"/>
                <a:gd name="connsiteY1" fmla="*/ 0 h 342900"/>
                <a:gd name="connsiteX2" fmla="*/ 342900 w 342900"/>
                <a:gd name="connsiteY2" fmla="*/ 342900 h 342900"/>
                <a:gd name="connsiteX3" fmla="*/ 342900 w 342900"/>
                <a:gd name="connsiteY3" fmla="*/ 342900 h 342900"/>
                <a:gd name="connsiteX4" fmla="*/ 0 w 342900"/>
                <a:gd name="connsiteY4" fmla="*/ 1143 h 342900"/>
                <a:gd name="connsiteX5" fmla="*/ 0 w 342900"/>
                <a:gd name="connsiteY5" fmla="*/ 0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900" h="342900">
                  <a:moveTo>
                    <a:pt x="0" y="0"/>
                  </a:moveTo>
                  <a:lnTo>
                    <a:pt x="0" y="0"/>
                  </a:lnTo>
                  <a:cubicBezTo>
                    <a:pt x="189376" y="0"/>
                    <a:pt x="342900" y="153524"/>
                    <a:pt x="342900" y="342900"/>
                  </a:cubicBezTo>
                  <a:lnTo>
                    <a:pt x="342900" y="342900"/>
                  </a:lnTo>
                  <a:cubicBezTo>
                    <a:pt x="153838" y="343215"/>
                    <a:pt x="314" y="190205"/>
                    <a:pt x="0" y="1143"/>
                  </a:cubicBezTo>
                  <a:cubicBezTo>
                    <a:pt x="0" y="762"/>
                    <a:pt x="0" y="381"/>
                    <a:pt x="0" y="0"/>
                  </a:cubicBezTo>
                </a:path>
              </a:pathLst>
            </a:custGeom>
            <a:solidFill>
              <a:schemeClr val="bg1">
                <a:alpha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79779C93-2D08-4218-AA39-F0030AB88352}"/>
                </a:ext>
              </a:extLst>
            </p:cNvPr>
            <p:cNvSpPr/>
            <p:nvPr/>
          </p:nvSpPr>
          <p:spPr>
            <a:xfrm>
              <a:off x="15744632" y="3131731"/>
              <a:ext cx="682250" cy="682061"/>
            </a:xfrm>
            <a:custGeom>
              <a:avLst/>
              <a:gdLst>
                <a:gd name="connsiteX0" fmla="*/ 342424 w 342423"/>
                <a:gd name="connsiteY0" fmla="*/ 0 h 342328"/>
                <a:gd name="connsiteX1" fmla="*/ 342424 w 342423"/>
                <a:gd name="connsiteY1" fmla="*/ 0 h 342328"/>
                <a:gd name="connsiteX2" fmla="*/ 0 w 342423"/>
                <a:gd name="connsiteY2" fmla="*/ 342233 h 342328"/>
                <a:gd name="connsiteX3" fmla="*/ 0 w 342423"/>
                <a:gd name="connsiteY3" fmla="*/ 342329 h 342328"/>
                <a:gd name="connsiteX4" fmla="*/ 0 w 342423"/>
                <a:gd name="connsiteY4" fmla="*/ 342329 h 342328"/>
                <a:gd name="connsiteX5" fmla="*/ 342424 w 342423"/>
                <a:gd name="connsiteY5" fmla="*/ 0 h 34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423" h="342328">
                  <a:moveTo>
                    <a:pt x="342424" y="0"/>
                  </a:moveTo>
                  <a:lnTo>
                    <a:pt x="342424" y="0"/>
                  </a:lnTo>
                  <a:cubicBezTo>
                    <a:pt x="153362" y="-57"/>
                    <a:pt x="57" y="153171"/>
                    <a:pt x="0" y="342233"/>
                  </a:cubicBezTo>
                  <a:cubicBezTo>
                    <a:pt x="0" y="342262"/>
                    <a:pt x="0" y="342300"/>
                    <a:pt x="0" y="342329"/>
                  </a:cubicBezTo>
                  <a:lnTo>
                    <a:pt x="0" y="342329"/>
                  </a:lnTo>
                  <a:cubicBezTo>
                    <a:pt x="188966" y="342062"/>
                    <a:pt x="342109" y="188966"/>
                    <a:pt x="342424" y="0"/>
                  </a:cubicBezTo>
                </a:path>
              </a:pathLst>
            </a:custGeom>
            <a:solidFill>
              <a:schemeClr val="bg1">
                <a:alpha val="7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56DB7131-5650-4F79-BBD5-9C731FE67AF0}"/>
                </a:ext>
              </a:extLst>
            </p:cNvPr>
            <p:cNvSpPr/>
            <p:nvPr/>
          </p:nvSpPr>
          <p:spPr>
            <a:xfrm>
              <a:off x="16426883" y="3131731"/>
              <a:ext cx="682061" cy="682061"/>
            </a:xfrm>
            <a:custGeom>
              <a:avLst/>
              <a:gdLst>
                <a:gd name="connsiteX0" fmla="*/ 0 w 342328"/>
                <a:gd name="connsiteY0" fmla="*/ 0 h 342328"/>
                <a:gd name="connsiteX1" fmla="*/ 0 w 342328"/>
                <a:gd name="connsiteY1" fmla="*/ 0 h 342328"/>
                <a:gd name="connsiteX2" fmla="*/ 342329 w 342328"/>
                <a:gd name="connsiteY2" fmla="*/ 342329 h 342328"/>
                <a:gd name="connsiteX3" fmla="*/ 342329 w 342328"/>
                <a:gd name="connsiteY3" fmla="*/ 342329 h 342328"/>
                <a:gd name="connsiteX4" fmla="*/ 0 w 342328"/>
                <a:gd name="connsiteY4" fmla="*/ 0 h 34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28" h="342328">
                  <a:moveTo>
                    <a:pt x="0" y="0"/>
                  </a:moveTo>
                  <a:lnTo>
                    <a:pt x="0" y="0"/>
                  </a:lnTo>
                  <a:cubicBezTo>
                    <a:pt x="189062" y="0"/>
                    <a:pt x="342329" y="153267"/>
                    <a:pt x="342329" y="342329"/>
                  </a:cubicBezTo>
                  <a:lnTo>
                    <a:pt x="342329" y="342329"/>
                  </a:lnTo>
                  <a:cubicBezTo>
                    <a:pt x="153267" y="342329"/>
                    <a:pt x="0" y="189062"/>
                    <a:pt x="0" y="0"/>
                  </a:cubicBezTo>
                </a:path>
              </a:pathLst>
            </a:custGeom>
            <a:solidFill>
              <a:schemeClr val="bg1">
                <a:alpha val="7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18E66DD6-FFB9-4132-AF56-B54DF865FCBE}"/>
                </a:ext>
              </a:extLst>
            </p:cNvPr>
            <p:cNvSpPr/>
            <p:nvPr/>
          </p:nvSpPr>
          <p:spPr>
            <a:xfrm>
              <a:off x="17108945" y="3131731"/>
              <a:ext cx="682250" cy="682061"/>
            </a:xfrm>
            <a:custGeom>
              <a:avLst/>
              <a:gdLst>
                <a:gd name="connsiteX0" fmla="*/ 342424 w 342423"/>
                <a:gd name="connsiteY0" fmla="*/ 0 h 342328"/>
                <a:gd name="connsiteX1" fmla="*/ 342424 w 342423"/>
                <a:gd name="connsiteY1" fmla="*/ 0 h 342328"/>
                <a:gd name="connsiteX2" fmla="*/ 0 w 342423"/>
                <a:gd name="connsiteY2" fmla="*/ 342233 h 342328"/>
                <a:gd name="connsiteX3" fmla="*/ 0 w 342423"/>
                <a:gd name="connsiteY3" fmla="*/ 342329 h 342328"/>
                <a:gd name="connsiteX4" fmla="*/ 0 w 342423"/>
                <a:gd name="connsiteY4" fmla="*/ 342329 h 342328"/>
                <a:gd name="connsiteX5" fmla="*/ 342424 w 342423"/>
                <a:gd name="connsiteY5" fmla="*/ 0 h 34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423" h="342328">
                  <a:moveTo>
                    <a:pt x="342424" y="0"/>
                  </a:moveTo>
                  <a:lnTo>
                    <a:pt x="342424" y="0"/>
                  </a:lnTo>
                  <a:cubicBezTo>
                    <a:pt x="153362" y="-57"/>
                    <a:pt x="57" y="153171"/>
                    <a:pt x="0" y="342233"/>
                  </a:cubicBezTo>
                  <a:cubicBezTo>
                    <a:pt x="0" y="342262"/>
                    <a:pt x="0" y="342300"/>
                    <a:pt x="0" y="342329"/>
                  </a:cubicBezTo>
                  <a:lnTo>
                    <a:pt x="0" y="342329"/>
                  </a:lnTo>
                  <a:cubicBezTo>
                    <a:pt x="188966" y="342062"/>
                    <a:pt x="342109" y="188966"/>
                    <a:pt x="342424" y="0"/>
                  </a:cubicBezTo>
                </a:path>
              </a:pathLst>
            </a:custGeom>
            <a:solidFill>
              <a:schemeClr val="bg1">
                <a:alpha val="7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394DC7EE-2ED7-4B9E-9DDC-8C9AD6F4ED37}"/>
                </a:ext>
              </a:extLst>
            </p:cNvPr>
            <p:cNvSpPr/>
            <p:nvPr/>
          </p:nvSpPr>
          <p:spPr>
            <a:xfrm>
              <a:off x="17791195" y="3131731"/>
              <a:ext cx="682061" cy="682061"/>
            </a:xfrm>
            <a:custGeom>
              <a:avLst/>
              <a:gdLst>
                <a:gd name="connsiteX0" fmla="*/ 0 w 342328"/>
                <a:gd name="connsiteY0" fmla="*/ 0 h 342328"/>
                <a:gd name="connsiteX1" fmla="*/ 0 w 342328"/>
                <a:gd name="connsiteY1" fmla="*/ 0 h 342328"/>
                <a:gd name="connsiteX2" fmla="*/ 342329 w 342328"/>
                <a:gd name="connsiteY2" fmla="*/ 342329 h 342328"/>
                <a:gd name="connsiteX3" fmla="*/ 342329 w 342328"/>
                <a:gd name="connsiteY3" fmla="*/ 342329 h 342328"/>
                <a:gd name="connsiteX4" fmla="*/ 0 w 342328"/>
                <a:gd name="connsiteY4" fmla="*/ 0 h 34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328" h="342328">
                  <a:moveTo>
                    <a:pt x="0" y="0"/>
                  </a:moveTo>
                  <a:lnTo>
                    <a:pt x="0" y="0"/>
                  </a:lnTo>
                  <a:cubicBezTo>
                    <a:pt x="189062" y="0"/>
                    <a:pt x="342329" y="153267"/>
                    <a:pt x="342329" y="342329"/>
                  </a:cubicBezTo>
                  <a:lnTo>
                    <a:pt x="342329" y="342329"/>
                  </a:lnTo>
                  <a:cubicBezTo>
                    <a:pt x="153267" y="342329"/>
                    <a:pt x="0" y="189062"/>
                    <a:pt x="0" y="0"/>
                  </a:cubicBezTo>
                </a:path>
              </a:pathLst>
            </a:custGeom>
            <a:solidFill>
              <a:schemeClr val="bg1">
                <a:alpha val="7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74CF4C31-F8E8-4EE5-8DCC-09209A9F077A}"/>
                </a:ext>
              </a:extLst>
            </p:cNvPr>
            <p:cNvSpPr/>
            <p:nvPr/>
          </p:nvSpPr>
          <p:spPr>
            <a:xfrm>
              <a:off x="18472309" y="3131729"/>
              <a:ext cx="683200" cy="682063"/>
            </a:xfrm>
            <a:custGeom>
              <a:avLst/>
              <a:gdLst>
                <a:gd name="connsiteX0" fmla="*/ 342900 w 342900"/>
                <a:gd name="connsiteY0" fmla="*/ 0 h 342329"/>
                <a:gd name="connsiteX1" fmla="*/ 342900 w 342900"/>
                <a:gd name="connsiteY1" fmla="*/ 0 h 342329"/>
                <a:gd name="connsiteX2" fmla="*/ 0 w 342900"/>
                <a:gd name="connsiteY2" fmla="*/ 341758 h 342329"/>
                <a:gd name="connsiteX3" fmla="*/ 0 w 342900"/>
                <a:gd name="connsiteY3" fmla="*/ 342329 h 342329"/>
                <a:gd name="connsiteX4" fmla="*/ 0 w 342900"/>
                <a:gd name="connsiteY4" fmla="*/ 342329 h 342329"/>
                <a:gd name="connsiteX5" fmla="*/ 342900 w 342900"/>
                <a:gd name="connsiteY5" fmla="*/ 0 h 342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900" h="342329">
                  <a:moveTo>
                    <a:pt x="342900" y="0"/>
                  </a:moveTo>
                  <a:lnTo>
                    <a:pt x="342900" y="0"/>
                  </a:lnTo>
                  <a:cubicBezTo>
                    <a:pt x="153838" y="-314"/>
                    <a:pt x="314" y="152696"/>
                    <a:pt x="0" y="341758"/>
                  </a:cubicBezTo>
                  <a:cubicBezTo>
                    <a:pt x="0" y="341948"/>
                    <a:pt x="0" y="342138"/>
                    <a:pt x="0" y="342329"/>
                  </a:cubicBezTo>
                  <a:lnTo>
                    <a:pt x="0" y="342329"/>
                  </a:lnTo>
                  <a:cubicBezTo>
                    <a:pt x="189157" y="342329"/>
                    <a:pt x="342585" y="189158"/>
                    <a:pt x="342900" y="0"/>
                  </a:cubicBezTo>
                </a:path>
              </a:pathLst>
            </a:custGeom>
            <a:solidFill>
              <a:schemeClr val="bg1">
                <a:alpha val="7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49BF68B5-6CAE-4F71-BDB7-E2E16735814A}"/>
                </a:ext>
              </a:extLst>
            </p:cNvPr>
            <p:cNvSpPr/>
            <p:nvPr/>
          </p:nvSpPr>
          <p:spPr>
            <a:xfrm>
              <a:off x="12333945" y="2449479"/>
              <a:ext cx="682061" cy="682250"/>
            </a:xfrm>
            <a:custGeom>
              <a:avLst/>
              <a:gdLst>
                <a:gd name="connsiteX0" fmla="*/ 0 w 342328"/>
                <a:gd name="connsiteY0" fmla="*/ 0 h 342423"/>
                <a:gd name="connsiteX1" fmla="*/ 0 w 342328"/>
                <a:gd name="connsiteY1" fmla="*/ 0 h 342423"/>
                <a:gd name="connsiteX2" fmla="*/ 342329 w 342328"/>
                <a:gd name="connsiteY2" fmla="*/ 342328 h 342423"/>
                <a:gd name="connsiteX3" fmla="*/ 342329 w 342328"/>
                <a:gd name="connsiteY3" fmla="*/ 342424 h 342423"/>
                <a:gd name="connsiteX4" fmla="*/ 342329 w 342328"/>
                <a:gd name="connsiteY4" fmla="*/ 342424 h 342423"/>
                <a:gd name="connsiteX5" fmla="*/ 0 w 342328"/>
                <a:gd name="connsiteY5" fmla="*/ 0 h 342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328" h="342423">
                  <a:moveTo>
                    <a:pt x="0" y="0"/>
                  </a:moveTo>
                  <a:lnTo>
                    <a:pt x="0" y="0"/>
                  </a:lnTo>
                  <a:cubicBezTo>
                    <a:pt x="189062" y="0"/>
                    <a:pt x="342329" y="153267"/>
                    <a:pt x="342329" y="342328"/>
                  </a:cubicBezTo>
                  <a:cubicBezTo>
                    <a:pt x="342329" y="342357"/>
                    <a:pt x="342329" y="342395"/>
                    <a:pt x="342329" y="342424"/>
                  </a:cubicBezTo>
                  <a:lnTo>
                    <a:pt x="342329" y="342424"/>
                  </a:lnTo>
                  <a:cubicBezTo>
                    <a:pt x="153362" y="342109"/>
                    <a:pt x="267" y="188966"/>
                    <a:pt x="0" y="0"/>
                  </a:cubicBezTo>
                </a:path>
              </a:pathLst>
            </a:custGeom>
            <a:solidFill>
              <a:schemeClr val="bg1">
                <a:alpha val="5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3" name="Freeform: Shape 152">
              <a:extLst>
                <a:ext uri="{FF2B5EF4-FFF2-40B4-BE49-F238E27FC236}">
                  <a16:creationId xmlns:a16="http://schemas.microsoft.com/office/drawing/2014/main" id="{534C9132-58FB-4F04-BB50-6E7C78994BEC}"/>
                </a:ext>
              </a:extLst>
            </p:cNvPr>
            <p:cNvSpPr/>
            <p:nvPr/>
          </p:nvSpPr>
          <p:spPr>
            <a:xfrm>
              <a:off x="13016008" y="2449479"/>
              <a:ext cx="682250" cy="682250"/>
            </a:xfrm>
            <a:custGeom>
              <a:avLst/>
              <a:gdLst>
                <a:gd name="connsiteX0" fmla="*/ 342424 w 342423"/>
                <a:gd name="connsiteY0" fmla="*/ 0 h 342423"/>
                <a:gd name="connsiteX1" fmla="*/ 342424 w 342423"/>
                <a:gd name="connsiteY1" fmla="*/ 0 h 342423"/>
                <a:gd name="connsiteX2" fmla="*/ 0 w 342423"/>
                <a:gd name="connsiteY2" fmla="*/ 342233 h 342423"/>
                <a:gd name="connsiteX3" fmla="*/ 0 w 342423"/>
                <a:gd name="connsiteY3" fmla="*/ 342424 h 342423"/>
                <a:gd name="connsiteX4" fmla="*/ 0 w 342423"/>
                <a:gd name="connsiteY4" fmla="*/ 342424 h 342423"/>
                <a:gd name="connsiteX5" fmla="*/ 342424 w 342423"/>
                <a:gd name="connsiteY5" fmla="*/ 0 h 342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423" h="342423">
                  <a:moveTo>
                    <a:pt x="342424" y="0"/>
                  </a:moveTo>
                  <a:lnTo>
                    <a:pt x="342424" y="0"/>
                  </a:lnTo>
                  <a:cubicBezTo>
                    <a:pt x="153362" y="-57"/>
                    <a:pt x="57" y="153171"/>
                    <a:pt x="0" y="342233"/>
                  </a:cubicBezTo>
                  <a:cubicBezTo>
                    <a:pt x="0" y="342300"/>
                    <a:pt x="0" y="342357"/>
                    <a:pt x="0" y="342424"/>
                  </a:cubicBezTo>
                  <a:lnTo>
                    <a:pt x="0" y="342424"/>
                  </a:lnTo>
                  <a:cubicBezTo>
                    <a:pt x="189005" y="342157"/>
                    <a:pt x="342157" y="189004"/>
                    <a:pt x="342424" y="0"/>
                  </a:cubicBezTo>
                </a:path>
              </a:pathLst>
            </a:custGeom>
            <a:solidFill>
              <a:schemeClr val="bg1">
                <a:alpha val="5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82720245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Content + Macbook (clear)" preserve="1">
  <p:cSld name="Title + Content + Macbook (clear)"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Google Shape;114;p39"/>
          <p:cNvSpPr/>
          <p:nvPr/>
        </p:nvSpPr>
        <p:spPr>
          <a:xfrm>
            <a:off x="0" y="0"/>
            <a:ext cx="12192000" cy="4495799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0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5" name="Google Shape;115;p39"/>
          <p:cNvSpPr txBox="1">
            <a:spLocks noGrp="1"/>
          </p:cNvSpPr>
          <p:nvPr>
            <p:ph type="title"/>
          </p:nvPr>
        </p:nvSpPr>
        <p:spPr>
          <a:xfrm>
            <a:off x="542926" y="1427277"/>
            <a:ext cx="7077074" cy="81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accent1"/>
                </a:solidFill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" name="Google Shape;116;p39"/>
          <p:cNvSpPr txBox="1">
            <a:spLocks noGrp="1"/>
          </p:cNvSpPr>
          <p:nvPr>
            <p:ph type="sldNum" idx="12"/>
          </p:nvPr>
        </p:nvSpPr>
        <p:spPr>
          <a:xfrm>
            <a:off x="10512506" y="375991"/>
            <a:ext cx="1259824" cy="20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8" name="Google Shape;118;p39"/>
          <p:cNvSpPr txBox="1">
            <a:spLocks noGrp="1"/>
          </p:cNvSpPr>
          <p:nvPr>
            <p:ph type="body" idx="1"/>
          </p:nvPr>
        </p:nvSpPr>
        <p:spPr>
          <a:xfrm>
            <a:off x="542926" y="914400"/>
            <a:ext cx="7087042" cy="22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lt2"/>
                </a:solidFill>
              </a:defRPr>
            </a:lvl1pPr>
            <a:lvl2pPr marL="914400" lvl="1" indent="-228600" algn="l">
              <a:spcBef>
                <a:spcPts val="30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lt2"/>
                </a:solidFill>
              </a:defRPr>
            </a:lvl2pPr>
            <a:lvl3pPr marL="1371600" lvl="2" indent="-228600" algn="l">
              <a:spcBef>
                <a:spcPts val="300"/>
              </a:spcBef>
              <a:spcAft>
                <a:spcPts val="0"/>
              </a:spcAft>
              <a:buSzPts val="1200"/>
              <a:buFont typeface="Arial"/>
              <a:buNone/>
              <a:defRPr sz="1200" b="0">
                <a:solidFill>
                  <a:schemeClr val="lt2"/>
                </a:solidFill>
              </a:defRPr>
            </a:lvl3pPr>
            <a:lvl4pPr marL="1828800" lvl="3" indent="-228600" algn="l">
              <a:spcBef>
                <a:spcPts val="30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lt2"/>
                </a:solidFill>
              </a:defRPr>
            </a:lvl4pPr>
            <a:lvl5pPr marL="2286000" lvl="4" indent="-228600" algn="l">
              <a:spcBef>
                <a:spcPts val="300"/>
              </a:spcBef>
              <a:spcAft>
                <a:spcPts val="0"/>
              </a:spcAft>
              <a:buSzPts val="1200"/>
              <a:buFont typeface="Arial"/>
              <a:buNone/>
              <a:defRPr sz="1200" b="0">
                <a:solidFill>
                  <a:schemeClr val="lt2"/>
                </a:solidFill>
              </a:defRPr>
            </a:lvl5pPr>
            <a:lvl6pPr marL="2743200" lvl="5" indent="-342900" algn="l">
              <a:spcBef>
                <a:spcPts val="3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" name="Google Shape;119;p39"/>
          <p:cNvSpPr>
            <a:spLocks noGrp="1"/>
          </p:cNvSpPr>
          <p:nvPr>
            <p:ph type="pic" idx="2"/>
          </p:nvPr>
        </p:nvSpPr>
        <p:spPr>
          <a:xfrm>
            <a:off x="3438940" y="2700379"/>
            <a:ext cx="5263526" cy="3253785"/>
          </a:xfrm>
          <a:prstGeom prst="rect">
            <a:avLst/>
          </a:prstGeom>
          <a:noFill/>
          <a:ln>
            <a:noFill/>
          </a:ln>
        </p:spPr>
      </p:sp>
      <p:pic>
        <p:nvPicPr>
          <p:cNvPr id="120" name="Google Shape;120;p3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633002" y="2472983"/>
            <a:ext cx="6815798" cy="3851617"/>
          </a:xfrm>
          <a:prstGeom prst="rect">
            <a:avLst/>
          </a:prstGeom>
          <a:noFill/>
          <a:ln>
            <a:noFill/>
          </a:ln>
        </p:spPr>
      </p:pic>
      <p:sp>
        <p:nvSpPr>
          <p:cNvPr id="121" name="Google Shape;121;p39"/>
          <p:cNvSpPr/>
          <p:nvPr/>
        </p:nvSpPr>
        <p:spPr>
          <a:xfrm>
            <a:off x="509401" y="3053325"/>
            <a:ext cx="2571438" cy="1183192"/>
          </a:xfrm>
          <a:prstGeom prst="roundRect">
            <a:avLst>
              <a:gd name="adj" fmla="val 1986"/>
            </a:avLst>
          </a:prstGeom>
          <a:solidFill>
            <a:srgbClr val="FFFFFF"/>
          </a:solidFill>
          <a:ln>
            <a:noFill/>
          </a:ln>
          <a:effectLst>
            <a:outerShdw blurRad="133740" dist="38100" dir="2700000" algn="tl" rotWithShape="0">
              <a:schemeClr val="dk1">
                <a:alpha val="7843"/>
              </a:schemeClr>
            </a:outerShdw>
          </a:effectLst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2" name="Google Shape;122;p39"/>
          <p:cNvSpPr/>
          <p:nvPr/>
        </p:nvSpPr>
        <p:spPr>
          <a:xfrm>
            <a:off x="9111161" y="3904203"/>
            <a:ext cx="2571438" cy="1183192"/>
          </a:xfrm>
          <a:prstGeom prst="roundRect">
            <a:avLst>
              <a:gd name="adj" fmla="val 1986"/>
            </a:avLst>
          </a:prstGeom>
          <a:solidFill>
            <a:srgbClr val="FFFFFF"/>
          </a:solidFill>
          <a:ln>
            <a:noFill/>
          </a:ln>
          <a:effectLst>
            <a:outerShdw blurRad="133740" dist="38100" dir="2700000" algn="tl" rotWithShape="0">
              <a:schemeClr val="dk1">
                <a:alpha val="7843"/>
              </a:schemeClr>
            </a:outerShdw>
          </a:effectLst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" name="Google Shape;123;p39"/>
          <p:cNvSpPr txBox="1">
            <a:spLocks noGrp="1"/>
          </p:cNvSpPr>
          <p:nvPr>
            <p:ph type="body" idx="3"/>
          </p:nvPr>
        </p:nvSpPr>
        <p:spPr>
          <a:xfrm>
            <a:off x="708792" y="3259534"/>
            <a:ext cx="2146961" cy="7707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1pPr>
            <a:lvl2pPr marL="914400" lvl="1" indent="-228600" algn="ctr">
              <a:spcBef>
                <a:spcPts val="250"/>
              </a:spcBef>
              <a:spcAft>
                <a:spcPts val="0"/>
              </a:spcAft>
              <a:buSzPts val="1000"/>
              <a:buNone/>
              <a:defRPr sz="1000"/>
            </a:lvl2pPr>
            <a:lvl3pPr marL="1371600" lvl="2" indent="-228600" algn="ctr">
              <a:spcBef>
                <a:spcPts val="250"/>
              </a:spcBef>
              <a:spcAft>
                <a:spcPts val="0"/>
              </a:spcAft>
              <a:buSzPts val="1000"/>
              <a:buFont typeface="Arial"/>
              <a:buNone/>
              <a:defRPr sz="1000"/>
            </a:lvl3pPr>
            <a:lvl4pPr marL="1828800" lvl="3" indent="-228600" algn="ctr">
              <a:spcBef>
                <a:spcPts val="250"/>
              </a:spcBef>
              <a:spcAft>
                <a:spcPts val="0"/>
              </a:spcAft>
              <a:buSzPts val="1000"/>
              <a:buNone/>
              <a:defRPr sz="1000"/>
            </a:lvl4pPr>
            <a:lvl5pPr marL="2286000" lvl="4" indent="-228600" algn="ctr">
              <a:spcBef>
                <a:spcPts val="250"/>
              </a:spcBef>
              <a:spcAft>
                <a:spcPts val="0"/>
              </a:spcAft>
              <a:buSzPts val="1000"/>
              <a:buFont typeface="Arial"/>
              <a:buNone/>
              <a:defRPr sz="1000"/>
            </a:lvl5pPr>
            <a:lvl6pPr marL="2743200" lvl="5" indent="-342900" algn="l">
              <a:spcBef>
                <a:spcPts val="25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" name="Google Shape;124;p39"/>
          <p:cNvSpPr txBox="1">
            <a:spLocks noGrp="1"/>
          </p:cNvSpPr>
          <p:nvPr>
            <p:ph type="body" idx="4"/>
          </p:nvPr>
        </p:nvSpPr>
        <p:spPr>
          <a:xfrm>
            <a:off x="9344726" y="4115231"/>
            <a:ext cx="2146961" cy="7707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1pPr>
            <a:lvl2pPr marL="914400" lvl="1" indent="-228600" algn="ctr">
              <a:spcBef>
                <a:spcPts val="250"/>
              </a:spcBef>
              <a:spcAft>
                <a:spcPts val="0"/>
              </a:spcAft>
              <a:buSzPts val="1000"/>
              <a:buNone/>
              <a:defRPr sz="1000"/>
            </a:lvl2pPr>
            <a:lvl3pPr marL="1371600" lvl="2" indent="-228600" algn="ctr">
              <a:spcBef>
                <a:spcPts val="250"/>
              </a:spcBef>
              <a:spcAft>
                <a:spcPts val="0"/>
              </a:spcAft>
              <a:buSzPts val="1000"/>
              <a:buFont typeface="Arial"/>
              <a:buNone/>
              <a:defRPr sz="1000"/>
            </a:lvl3pPr>
            <a:lvl4pPr marL="1828800" lvl="3" indent="-228600" algn="ctr">
              <a:spcBef>
                <a:spcPts val="250"/>
              </a:spcBef>
              <a:spcAft>
                <a:spcPts val="0"/>
              </a:spcAft>
              <a:buSzPts val="1000"/>
              <a:buNone/>
              <a:defRPr sz="1000"/>
            </a:lvl4pPr>
            <a:lvl5pPr marL="2286000" lvl="4" indent="-228600" algn="ctr">
              <a:spcBef>
                <a:spcPts val="250"/>
              </a:spcBef>
              <a:spcAft>
                <a:spcPts val="0"/>
              </a:spcAft>
              <a:buSzPts val="1000"/>
              <a:buFont typeface="Arial"/>
              <a:buNone/>
              <a:defRPr sz="1000"/>
            </a:lvl5pPr>
            <a:lvl6pPr marL="2743200" lvl="5" indent="-342900" algn="l">
              <a:spcBef>
                <a:spcPts val="25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" name="Google Shape;40;p32">
            <a:extLst>
              <a:ext uri="{FF2B5EF4-FFF2-40B4-BE49-F238E27FC236}">
                <a16:creationId xmlns:a16="http://schemas.microsoft.com/office/drawing/2014/main" id="{CD16DFAC-39C1-EA95-0130-709CB8FB285D}"/>
              </a:ext>
            </a:extLst>
          </p:cNvPr>
          <p:cNvSpPr txBox="1"/>
          <p:nvPr userDrawn="1"/>
        </p:nvSpPr>
        <p:spPr>
          <a:xfrm>
            <a:off x="516835" y="6334236"/>
            <a:ext cx="3550340" cy="2974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None/>
            </a:pPr>
            <a:r>
              <a:rPr lang="ru-RU" sz="12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ЗоРРО</a:t>
            </a:r>
            <a:r>
              <a:rPr lang="ru-RU" sz="1200" b="1" i="0" u="none" strike="noStrike" cap="none" baseline="30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® </a:t>
            </a:r>
            <a:r>
              <a:rPr lang="de-CH" sz="1200" b="1" i="0" u="none" strike="noStrike" cap="none" baseline="30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2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024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| Internal Use Only</a:t>
            </a:r>
            <a:endParaRPr b="0" dirty="0"/>
          </a:p>
        </p:txBody>
      </p:sp>
      <p:pic>
        <p:nvPicPr>
          <p:cNvPr id="3" name="Google Shape;53;p32">
            <a:extLst>
              <a:ext uri="{FF2B5EF4-FFF2-40B4-BE49-F238E27FC236}">
                <a16:creationId xmlns:a16="http://schemas.microsoft.com/office/drawing/2014/main" id="{7548332E-DCC3-CEFE-A938-E7EEA83C69FD}"/>
              </a:ext>
            </a:extLst>
          </p:cNvPr>
          <p:cNvPicPr preferRelativeResize="0"/>
          <p:nvPr userDrawn="1"/>
        </p:nvPicPr>
        <p:blipFill rotWithShape="1">
          <a:blip r:embed="rId3">
            <a:alphaModFix/>
          </a:blip>
          <a:srcRect/>
          <a:stretch/>
        </p:blipFill>
        <p:spPr>
          <a:xfrm>
            <a:off x="10566400" y="6399249"/>
            <a:ext cx="1205930" cy="16552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4" name="Google Shape;54;p32">
            <a:extLst>
              <a:ext uri="{FF2B5EF4-FFF2-40B4-BE49-F238E27FC236}">
                <a16:creationId xmlns:a16="http://schemas.microsoft.com/office/drawing/2014/main" id="{72E80917-01E5-E182-4A3A-05FBD11B2E70}"/>
              </a:ext>
            </a:extLst>
          </p:cNvPr>
          <p:cNvCxnSpPr>
            <a:cxnSpLocks/>
          </p:cNvCxnSpPr>
          <p:nvPr userDrawn="1"/>
        </p:nvCxnSpPr>
        <p:spPr>
          <a:xfrm>
            <a:off x="3743325" y="6492239"/>
            <a:ext cx="6630035" cy="0"/>
          </a:xfrm>
          <a:prstGeom prst="straightConnector1">
            <a:avLst/>
          </a:prstGeom>
          <a:solidFill>
            <a:schemeClr val="accent2"/>
          </a:solidFill>
          <a:ln w="19050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BB35CFC7-A134-4486-AD0A-142A016C268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42926" y="397563"/>
            <a:ext cx="1573333" cy="418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8207527"/>
      </p:ext>
    </p:extLst>
  </p:cSld>
  <p:clrMapOvr>
    <a:masterClrMapping/>
  </p:clrMapOvr>
  <p:transition>
    <p:wipe dir="r"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Content + Macbook (clear)" preserve="1" userDrawn="1">
  <p:cSld name="1_Title + Content + Macbook (clear)"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Google Shape;114;p39"/>
          <p:cNvSpPr/>
          <p:nvPr/>
        </p:nvSpPr>
        <p:spPr>
          <a:xfrm>
            <a:off x="0" y="0"/>
            <a:ext cx="12192000" cy="4495799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0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5" name="Google Shape;115;p39"/>
          <p:cNvSpPr txBox="1">
            <a:spLocks noGrp="1"/>
          </p:cNvSpPr>
          <p:nvPr>
            <p:ph type="title"/>
          </p:nvPr>
        </p:nvSpPr>
        <p:spPr>
          <a:xfrm>
            <a:off x="542926" y="1427277"/>
            <a:ext cx="7077074" cy="81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accent1"/>
                </a:solidFill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" name="Google Shape;116;p39"/>
          <p:cNvSpPr txBox="1">
            <a:spLocks noGrp="1"/>
          </p:cNvSpPr>
          <p:nvPr>
            <p:ph type="sldNum" idx="12"/>
          </p:nvPr>
        </p:nvSpPr>
        <p:spPr>
          <a:xfrm>
            <a:off x="10512506" y="375991"/>
            <a:ext cx="1259824" cy="20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8" name="Google Shape;118;p39"/>
          <p:cNvSpPr txBox="1">
            <a:spLocks noGrp="1"/>
          </p:cNvSpPr>
          <p:nvPr>
            <p:ph type="body" idx="1"/>
          </p:nvPr>
        </p:nvSpPr>
        <p:spPr>
          <a:xfrm>
            <a:off x="542926" y="914400"/>
            <a:ext cx="7087042" cy="22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lt2"/>
                </a:solidFill>
              </a:defRPr>
            </a:lvl1pPr>
            <a:lvl2pPr marL="914400" lvl="1" indent="-228600" algn="l">
              <a:spcBef>
                <a:spcPts val="30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lt2"/>
                </a:solidFill>
              </a:defRPr>
            </a:lvl2pPr>
            <a:lvl3pPr marL="1371600" lvl="2" indent="-228600" algn="l">
              <a:spcBef>
                <a:spcPts val="300"/>
              </a:spcBef>
              <a:spcAft>
                <a:spcPts val="0"/>
              </a:spcAft>
              <a:buSzPts val="1200"/>
              <a:buFont typeface="Arial"/>
              <a:buNone/>
              <a:defRPr sz="1200" b="0">
                <a:solidFill>
                  <a:schemeClr val="lt2"/>
                </a:solidFill>
              </a:defRPr>
            </a:lvl3pPr>
            <a:lvl4pPr marL="1828800" lvl="3" indent="-228600" algn="l">
              <a:spcBef>
                <a:spcPts val="30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lt2"/>
                </a:solidFill>
              </a:defRPr>
            </a:lvl4pPr>
            <a:lvl5pPr marL="2286000" lvl="4" indent="-228600" algn="l">
              <a:spcBef>
                <a:spcPts val="300"/>
              </a:spcBef>
              <a:spcAft>
                <a:spcPts val="0"/>
              </a:spcAft>
              <a:buSzPts val="1200"/>
              <a:buFont typeface="Arial"/>
              <a:buNone/>
              <a:defRPr sz="1200" b="0">
                <a:solidFill>
                  <a:schemeClr val="lt2"/>
                </a:solidFill>
              </a:defRPr>
            </a:lvl5pPr>
            <a:lvl6pPr marL="2743200" lvl="5" indent="-342900" algn="l">
              <a:spcBef>
                <a:spcPts val="3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" name="Google Shape;119;p39"/>
          <p:cNvSpPr>
            <a:spLocks noGrp="1"/>
          </p:cNvSpPr>
          <p:nvPr>
            <p:ph type="pic" idx="2"/>
          </p:nvPr>
        </p:nvSpPr>
        <p:spPr>
          <a:xfrm>
            <a:off x="3438940" y="2700379"/>
            <a:ext cx="5263526" cy="3253785"/>
          </a:xfrm>
          <a:prstGeom prst="rect">
            <a:avLst/>
          </a:prstGeom>
          <a:noFill/>
          <a:ln>
            <a:noFill/>
          </a:ln>
        </p:spPr>
      </p:sp>
      <p:pic>
        <p:nvPicPr>
          <p:cNvPr id="120" name="Google Shape;120;p3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633002" y="2472983"/>
            <a:ext cx="6815798" cy="3851617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40;p32">
            <a:extLst>
              <a:ext uri="{FF2B5EF4-FFF2-40B4-BE49-F238E27FC236}">
                <a16:creationId xmlns:a16="http://schemas.microsoft.com/office/drawing/2014/main" id="{CD16DFAC-39C1-EA95-0130-709CB8FB285D}"/>
              </a:ext>
            </a:extLst>
          </p:cNvPr>
          <p:cNvSpPr txBox="1"/>
          <p:nvPr userDrawn="1"/>
        </p:nvSpPr>
        <p:spPr>
          <a:xfrm>
            <a:off x="516835" y="6334236"/>
            <a:ext cx="3550340" cy="2974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None/>
            </a:pPr>
            <a:r>
              <a:rPr lang="ru-RU" sz="12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ЗоРРО</a:t>
            </a:r>
            <a:r>
              <a:rPr lang="ru-RU" sz="1200" b="1" i="0" u="none" strike="noStrike" cap="none" baseline="30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® </a:t>
            </a:r>
            <a:r>
              <a:rPr lang="de-CH" sz="1200" b="1" i="0" u="none" strike="noStrike" cap="none" baseline="30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2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024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| Internal Use Only</a:t>
            </a:r>
            <a:endParaRPr b="0" dirty="0"/>
          </a:p>
        </p:txBody>
      </p:sp>
      <p:pic>
        <p:nvPicPr>
          <p:cNvPr id="3" name="Google Shape;53;p32">
            <a:extLst>
              <a:ext uri="{FF2B5EF4-FFF2-40B4-BE49-F238E27FC236}">
                <a16:creationId xmlns:a16="http://schemas.microsoft.com/office/drawing/2014/main" id="{7548332E-DCC3-CEFE-A938-E7EEA83C69FD}"/>
              </a:ext>
            </a:extLst>
          </p:cNvPr>
          <p:cNvPicPr preferRelativeResize="0"/>
          <p:nvPr userDrawn="1"/>
        </p:nvPicPr>
        <p:blipFill rotWithShape="1">
          <a:blip r:embed="rId3">
            <a:alphaModFix/>
          </a:blip>
          <a:srcRect/>
          <a:stretch/>
        </p:blipFill>
        <p:spPr>
          <a:xfrm>
            <a:off x="10566400" y="6399249"/>
            <a:ext cx="1205930" cy="16552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4" name="Google Shape;54;p32">
            <a:extLst>
              <a:ext uri="{FF2B5EF4-FFF2-40B4-BE49-F238E27FC236}">
                <a16:creationId xmlns:a16="http://schemas.microsoft.com/office/drawing/2014/main" id="{72E80917-01E5-E182-4A3A-05FBD11B2E70}"/>
              </a:ext>
            </a:extLst>
          </p:cNvPr>
          <p:cNvCxnSpPr>
            <a:cxnSpLocks/>
          </p:cNvCxnSpPr>
          <p:nvPr userDrawn="1"/>
        </p:nvCxnSpPr>
        <p:spPr>
          <a:xfrm>
            <a:off x="3743325" y="6492239"/>
            <a:ext cx="6630035" cy="0"/>
          </a:xfrm>
          <a:prstGeom prst="straightConnector1">
            <a:avLst/>
          </a:prstGeom>
          <a:solidFill>
            <a:schemeClr val="accent2"/>
          </a:solidFill>
          <a:ln w="19050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BB35CFC7-A134-4486-AD0A-142A016C268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42926" y="397563"/>
            <a:ext cx="1573333" cy="418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301000"/>
      </p:ext>
    </p:extLst>
  </p:cSld>
  <p:clrMapOvr>
    <a:masterClrMapping/>
  </p:clrMapOvr>
  <p:transition>
    <p:wipe dir="r"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Content + Macbook (dark)" preserve="1">
  <p:cSld name="Title + Content + Macbook (dark)">
    <p:bg>
      <p:bgPr>
        <a:solidFill>
          <a:schemeClr val="lt1"/>
        </a:solidFill>
        <a:effectLst/>
      </p:bgPr>
    </p:bg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9" name="Google Shape;129;p40"/>
          <p:cNvPicPr preferRelativeResize="0"/>
          <p:nvPr/>
        </p:nvPicPr>
        <p:blipFill rotWithShape="1">
          <a:blip r:embed="rId2">
            <a:alphaModFix/>
          </a:blip>
          <a:srcRect l="50000" r="18360"/>
          <a:stretch/>
        </p:blipFill>
        <p:spPr>
          <a:xfrm rot="-5400000">
            <a:off x="2667002" y="-2667003"/>
            <a:ext cx="6858002" cy="12192003"/>
          </a:xfrm>
          <a:prstGeom prst="rect">
            <a:avLst/>
          </a:prstGeom>
          <a:noFill/>
          <a:ln>
            <a:noFill/>
          </a:ln>
        </p:spPr>
      </p:pic>
      <p:sp>
        <p:nvSpPr>
          <p:cNvPr id="130" name="Google Shape;130;p40"/>
          <p:cNvSpPr/>
          <p:nvPr/>
        </p:nvSpPr>
        <p:spPr>
          <a:xfrm>
            <a:off x="0" y="0"/>
            <a:ext cx="12192000" cy="4495798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0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31" name="Google Shape;131;p4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633002" y="2472983"/>
            <a:ext cx="6815798" cy="3851617"/>
          </a:xfrm>
          <a:prstGeom prst="rect">
            <a:avLst/>
          </a:prstGeom>
          <a:noFill/>
          <a:ln>
            <a:noFill/>
          </a:ln>
        </p:spPr>
      </p:pic>
      <p:sp>
        <p:nvSpPr>
          <p:cNvPr id="132" name="Google Shape;132;p40"/>
          <p:cNvSpPr txBox="1">
            <a:spLocks noGrp="1"/>
          </p:cNvSpPr>
          <p:nvPr>
            <p:ph type="sldNum" idx="12"/>
          </p:nvPr>
        </p:nvSpPr>
        <p:spPr>
          <a:xfrm>
            <a:off x="10512506" y="375991"/>
            <a:ext cx="1259824" cy="20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5" name="Google Shape;135;p40"/>
          <p:cNvSpPr txBox="1">
            <a:spLocks noGrp="1"/>
          </p:cNvSpPr>
          <p:nvPr>
            <p:ph type="body" idx="1"/>
          </p:nvPr>
        </p:nvSpPr>
        <p:spPr>
          <a:xfrm>
            <a:off x="542926" y="914400"/>
            <a:ext cx="4650701" cy="22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lt2"/>
                </a:solidFill>
              </a:defRPr>
            </a:lvl1pPr>
            <a:lvl2pPr marL="914400" lvl="1" indent="-228600" algn="l">
              <a:spcBef>
                <a:spcPts val="300"/>
              </a:spcBef>
              <a:spcAft>
                <a:spcPts val="0"/>
              </a:spcAft>
              <a:buSzPts val="1200"/>
              <a:buNone/>
              <a:defRPr sz="1200" b="1">
                <a:solidFill>
                  <a:schemeClr val="lt2"/>
                </a:solidFill>
              </a:defRPr>
            </a:lvl2pPr>
            <a:lvl3pPr marL="1371600" lvl="2" indent="-228600" algn="l">
              <a:spcBef>
                <a:spcPts val="300"/>
              </a:spcBef>
              <a:spcAft>
                <a:spcPts val="0"/>
              </a:spcAft>
              <a:buSzPts val="1200"/>
              <a:buFont typeface="Arial"/>
              <a:buNone/>
              <a:defRPr sz="1200" b="1">
                <a:solidFill>
                  <a:schemeClr val="lt2"/>
                </a:solidFill>
              </a:defRPr>
            </a:lvl3pPr>
            <a:lvl4pPr marL="1828800" lvl="3" indent="-228600" algn="l">
              <a:spcBef>
                <a:spcPts val="300"/>
              </a:spcBef>
              <a:spcAft>
                <a:spcPts val="0"/>
              </a:spcAft>
              <a:buSzPts val="1200"/>
              <a:buNone/>
              <a:defRPr sz="1200" b="1">
                <a:solidFill>
                  <a:schemeClr val="lt2"/>
                </a:solidFill>
              </a:defRPr>
            </a:lvl4pPr>
            <a:lvl5pPr marL="2286000" lvl="4" indent="-228600" algn="l">
              <a:spcBef>
                <a:spcPts val="300"/>
              </a:spcBef>
              <a:spcAft>
                <a:spcPts val="0"/>
              </a:spcAft>
              <a:buSzPts val="1200"/>
              <a:buFont typeface="Arial"/>
              <a:buNone/>
              <a:defRPr sz="1200" b="1">
                <a:solidFill>
                  <a:schemeClr val="lt2"/>
                </a:solidFill>
              </a:defRPr>
            </a:lvl5pPr>
            <a:lvl6pPr marL="2743200" lvl="5" indent="-342900" algn="l">
              <a:spcBef>
                <a:spcPts val="3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" name="Google Shape;136;p40"/>
          <p:cNvSpPr>
            <a:spLocks noGrp="1"/>
          </p:cNvSpPr>
          <p:nvPr>
            <p:ph type="pic" idx="2"/>
          </p:nvPr>
        </p:nvSpPr>
        <p:spPr>
          <a:xfrm>
            <a:off x="3438940" y="2700379"/>
            <a:ext cx="5263526" cy="3253785"/>
          </a:xfrm>
          <a:prstGeom prst="rect">
            <a:avLst/>
          </a:prstGeom>
          <a:noFill/>
          <a:ln>
            <a:noFill/>
          </a:ln>
        </p:spPr>
      </p:sp>
      <p:sp>
        <p:nvSpPr>
          <p:cNvPr id="137" name="Google Shape;137;p40"/>
          <p:cNvSpPr/>
          <p:nvPr/>
        </p:nvSpPr>
        <p:spPr>
          <a:xfrm>
            <a:off x="509401" y="3053325"/>
            <a:ext cx="2571438" cy="1183192"/>
          </a:xfrm>
          <a:prstGeom prst="roundRect">
            <a:avLst>
              <a:gd name="adj" fmla="val 1986"/>
            </a:avLst>
          </a:prstGeom>
          <a:solidFill>
            <a:schemeClr val="accent4"/>
          </a:solidFill>
          <a:ln>
            <a:noFill/>
          </a:ln>
          <a:effectLst>
            <a:outerShdw blurRad="133740" dist="38100" dir="2700000" algn="tl" rotWithShape="0">
              <a:schemeClr val="dk1">
                <a:alpha val="7843"/>
              </a:schemeClr>
            </a:outerShdw>
          </a:effectLst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8" name="Google Shape;138;p40"/>
          <p:cNvSpPr/>
          <p:nvPr/>
        </p:nvSpPr>
        <p:spPr>
          <a:xfrm>
            <a:off x="9111161" y="3904203"/>
            <a:ext cx="2571438" cy="1183192"/>
          </a:xfrm>
          <a:prstGeom prst="roundRect">
            <a:avLst>
              <a:gd name="adj" fmla="val 1986"/>
            </a:avLst>
          </a:prstGeom>
          <a:solidFill>
            <a:schemeClr val="accent4"/>
          </a:solidFill>
          <a:ln>
            <a:noFill/>
          </a:ln>
          <a:effectLst>
            <a:outerShdw blurRad="133740" dist="38100" dir="2700000" algn="tl" rotWithShape="0">
              <a:schemeClr val="dk1">
                <a:alpha val="7843"/>
              </a:schemeClr>
            </a:outerShdw>
          </a:effectLst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9" name="Google Shape;139;p40"/>
          <p:cNvSpPr txBox="1">
            <a:spLocks noGrp="1"/>
          </p:cNvSpPr>
          <p:nvPr>
            <p:ph type="body" idx="3"/>
          </p:nvPr>
        </p:nvSpPr>
        <p:spPr>
          <a:xfrm>
            <a:off x="708792" y="3259534"/>
            <a:ext cx="2146961" cy="7707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1pPr>
            <a:lvl2pPr marL="914400" lvl="1" indent="-228600" algn="ctr">
              <a:spcBef>
                <a:spcPts val="250"/>
              </a:spcBef>
              <a:spcAft>
                <a:spcPts val="0"/>
              </a:spcAft>
              <a:buSzPts val="1000"/>
              <a:buNone/>
              <a:defRPr sz="1000"/>
            </a:lvl2pPr>
            <a:lvl3pPr marL="1371600" lvl="2" indent="-228600" algn="ctr">
              <a:spcBef>
                <a:spcPts val="250"/>
              </a:spcBef>
              <a:spcAft>
                <a:spcPts val="0"/>
              </a:spcAft>
              <a:buSzPts val="1000"/>
              <a:buFont typeface="Arial"/>
              <a:buNone/>
              <a:defRPr sz="1000"/>
            </a:lvl3pPr>
            <a:lvl4pPr marL="1828800" lvl="3" indent="-228600" algn="ctr">
              <a:spcBef>
                <a:spcPts val="250"/>
              </a:spcBef>
              <a:spcAft>
                <a:spcPts val="0"/>
              </a:spcAft>
              <a:buSzPts val="1000"/>
              <a:buNone/>
              <a:defRPr sz="1000"/>
            </a:lvl4pPr>
            <a:lvl5pPr marL="2286000" lvl="4" indent="-228600" algn="ctr">
              <a:spcBef>
                <a:spcPts val="250"/>
              </a:spcBef>
              <a:spcAft>
                <a:spcPts val="0"/>
              </a:spcAft>
              <a:buSzPts val="1000"/>
              <a:buFont typeface="Arial"/>
              <a:buNone/>
              <a:defRPr sz="1000"/>
            </a:lvl5pPr>
            <a:lvl6pPr marL="2743200" lvl="5" indent="-342900" algn="l">
              <a:spcBef>
                <a:spcPts val="25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0" name="Google Shape;140;p40"/>
          <p:cNvSpPr txBox="1">
            <a:spLocks noGrp="1"/>
          </p:cNvSpPr>
          <p:nvPr>
            <p:ph type="body" idx="4"/>
          </p:nvPr>
        </p:nvSpPr>
        <p:spPr>
          <a:xfrm>
            <a:off x="9344726" y="4115231"/>
            <a:ext cx="2146961" cy="7707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1pPr>
            <a:lvl2pPr marL="914400" lvl="1" indent="-228600" algn="ctr">
              <a:spcBef>
                <a:spcPts val="250"/>
              </a:spcBef>
              <a:spcAft>
                <a:spcPts val="0"/>
              </a:spcAft>
              <a:buSzPts val="1000"/>
              <a:buNone/>
              <a:defRPr sz="1000"/>
            </a:lvl2pPr>
            <a:lvl3pPr marL="1371600" lvl="2" indent="-228600" algn="ctr">
              <a:spcBef>
                <a:spcPts val="250"/>
              </a:spcBef>
              <a:spcAft>
                <a:spcPts val="0"/>
              </a:spcAft>
              <a:buSzPts val="1000"/>
              <a:buFont typeface="Arial"/>
              <a:buNone/>
              <a:defRPr sz="1000"/>
            </a:lvl3pPr>
            <a:lvl4pPr marL="1828800" lvl="3" indent="-228600" algn="ctr">
              <a:spcBef>
                <a:spcPts val="250"/>
              </a:spcBef>
              <a:spcAft>
                <a:spcPts val="0"/>
              </a:spcAft>
              <a:buSzPts val="1000"/>
              <a:buNone/>
              <a:defRPr sz="1000"/>
            </a:lvl4pPr>
            <a:lvl5pPr marL="2286000" lvl="4" indent="-228600" algn="ctr">
              <a:spcBef>
                <a:spcPts val="250"/>
              </a:spcBef>
              <a:spcAft>
                <a:spcPts val="0"/>
              </a:spcAft>
              <a:buSzPts val="1000"/>
              <a:buFont typeface="Arial"/>
              <a:buNone/>
              <a:defRPr sz="1000"/>
            </a:lvl5pPr>
            <a:lvl6pPr marL="2743200" lvl="5" indent="-342900" algn="l">
              <a:spcBef>
                <a:spcPts val="25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1" name="Google Shape;141;p40"/>
          <p:cNvSpPr txBox="1">
            <a:spLocks noGrp="1"/>
          </p:cNvSpPr>
          <p:nvPr>
            <p:ph type="title"/>
          </p:nvPr>
        </p:nvSpPr>
        <p:spPr>
          <a:xfrm>
            <a:off x="542926" y="1427277"/>
            <a:ext cx="7077074" cy="81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2"/>
                </a:solidFill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" name="Google Shape;112;p38">
            <a:extLst>
              <a:ext uri="{FF2B5EF4-FFF2-40B4-BE49-F238E27FC236}">
                <a16:creationId xmlns:a16="http://schemas.microsoft.com/office/drawing/2014/main" id="{E0474C66-403E-7CC9-161D-F87CD6EE21AF}"/>
              </a:ext>
            </a:extLst>
          </p:cNvPr>
          <p:cNvPicPr preferRelativeResize="0"/>
          <p:nvPr userDrawn="1"/>
        </p:nvPicPr>
        <p:blipFill rotWithShape="1">
          <a:blip r:embed="rId4">
            <a:alphaModFix/>
          </a:blip>
          <a:srcRect/>
          <a:stretch/>
        </p:blipFill>
        <p:spPr>
          <a:xfrm>
            <a:off x="10566400" y="6399249"/>
            <a:ext cx="1205930" cy="16552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3" name="Google Shape;54;p32">
            <a:extLst>
              <a:ext uri="{FF2B5EF4-FFF2-40B4-BE49-F238E27FC236}">
                <a16:creationId xmlns:a16="http://schemas.microsoft.com/office/drawing/2014/main" id="{DD51544A-58B4-28A9-F9B1-2B2FABF7CDF2}"/>
              </a:ext>
            </a:extLst>
          </p:cNvPr>
          <p:cNvCxnSpPr>
            <a:cxnSpLocks/>
          </p:cNvCxnSpPr>
          <p:nvPr userDrawn="1"/>
        </p:nvCxnSpPr>
        <p:spPr>
          <a:xfrm>
            <a:off x="3743325" y="6492239"/>
            <a:ext cx="6630035" cy="0"/>
          </a:xfrm>
          <a:prstGeom prst="straightConnector1">
            <a:avLst/>
          </a:prstGeom>
          <a:solidFill>
            <a:schemeClr val="accent2"/>
          </a:solidFill>
          <a:ln w="19050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4" name="Google Shape;40;p32">
            <a:extLst>
              <a:ext uri="{FF2B5EF4-FFF2-40B4-BE49-F238E27FC236}">
                <a16:creationId xmlns:a16="http://schemas.microsoft.com/office/drawing/2014/main" id="{E9BB656C-8887-C373-76E2-37F66DA963F7}"/>
              </a:ext>
            </a:extLst>
          </p:cNvPr>
          <p:cNvSpPr txBox="1"/>
          <p:nvPr userDrawn="1"/>
        </p:nvSpPr>
        <p:spPr>
          <a:xfrm>
            <a:off x="516835" y="6334236"/>
            <a:ext cx="3550340" cy="2974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None/>
            </a:pPr>
            <a:r>
              <a:rPr lang="ru-RU" sz="1200" b="1" i="0" u="none" strike="noStrike" cap="none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ЗоРРО</a:t>
            </a:r>
            <a:r>
              <a:rPr lang="ru-RU" sz="1200" b="1" i="0" u="none" strike="noStrike" cap="none" baseline="3000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® </a:t>
            </a:r>
            <a:r>
              <a:rPr lang="de-CH" sz="1200" b="1" i="0" u="none" strike="noStrike" cap="none" baseline="3000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200" b="1" i="0" u="none" strike="noStrike" cap="none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2024 </a:t>
            </a:r>
            <a:r>
              <a:rPr lang="en-US" sz="1200" b="0" i="0" u="none" strike="noStrike" cap="none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| Internal Use Only</a:t>
            </a:r>
            <a:endParaRPr b="0" dirty="0">
              <a:solidFill>
                <a:srgbClr val="FFFFFF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6C2BC51-82EB-85FA-9268-3D6C0E5B6B6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41773" y="397563"/>
            <a:ext cx="1573333" cy="418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647667"/>
      </p:ext>
    </p:extLst>
  </p:cSld>
  <p:clrMapOvr>
    <a:masterClrMapping/>
  </p:clrMapOvr>
  <p:transition>
    <p:wipe dir="r"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eader + Title + Content + Ipad (clear)" preserve="1">
  <p:cSld name="Header + Title + Content + Ipad (clear)">
    <p:spTree>
      <p:nvGrpSpPr>
        <p:cNvPr id="1" name="Shape 1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Google Shape;145;p41"/>
          <p:cNvSpPr/>
          <p:nvPr/>
        </p:nvSpPr>
        <p:spPr>
          <a:xfrm>
            <a:off x="0" y="0"/>
            <a:ext cx="11132288" cy="5869172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0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46" name="Google Shape;146;p4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606756" y="1350718"/>
            <a:ext cx="6165574" cy="4273170"/>
          </a:xfrm>
          <a:prstGeom prst="rect">
            <a:avLst/>
          </a:prstGeom>
          <a:noFill/>
          <a:ln>
            <a:noFill/>
          </a:ln>
        </p:spPr>
      </p:pic>
      <p:sp>
        <p:nvSpPr>
          <p:cNvPr id="147" name="Google Shape;147;p41"/>
          <p:cNvSpPr txBox="1">
            <a:spLocks noGrp="1"/>
          </p:cNvSpPr>
          <p:nvPr>
            <p:ph type="title"/>
          </p:nvPr>
        </p:nvSpPr>
        <p:spPr>
          <a:xfrm>
            <a:off x="542926" y="1427277"/>
            <a:ext cx="4714874" cy="81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accent1"/>
                </a:solidFill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8" name="Google Shape;148;p41"/>
          <p:cNvSpPr txBox="1">
            <a:spLocks noGrp="1"/>
          </p:cNvSpPr>
          <p:nvPr>
            <p:ph type="sldNum" idx="12"/>
          </p:nvPr>
        </p:nvSpPr>
        <p:spPr>
          <a:xfrm>
            <a:off x="10512506" y="375991"/>
            <a:ext cx="1259824" cy="20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49" name="Google Shape;149;p41"/>
          <p:cNvSpPr txBox="1">
            <a:spLocks noGrp="1"/>
          </p:cNvSpPr>
          <p:nvPr>
            <p:ph type="body" idx="1"/>
          </p:nvPr>
        </p:nvSpPr>
        <p:spPr>
          <a:xfrm>
            <a:off x="542925" y="2447173"/>
            <a:ext cx="4714875" cy="27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marL="914400" lvl="1" indent="-228600" algn="l">
              <a:spcBef>
                <a:spcPts val="35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spcBef>
                <a:spcPts val="300"/>
              </a:spcBef>
              <a:spcAft>
                <a:spcPts val="0"/>
              </a:spcAft>
              <a:buSzPts val="1000"/>
              <a:buFont typeface="Arial"/>
              <a:buNone/>
              <a:defRPr sz="1000"/>
            </a:lvl3pPr>
            <a:lvl4pPr marL="1828800" lvl="3" indent="-228600" algn="l">
              <a:spcBef>
                <a:spcPts val="250"/>
              </a:spcBef>
              <a:spcAft>
                <a:spcPts val="0"/>
              </a:spcAft>
              <a:buSzPts val="1000"/>
              <a:buNone/>
              <a:defRPr sz="1000"/>
            </a:lvl4pPr>
            <a:lvl5pPr marL="2286000" lvl="4" indent="-228600" algn="l">
              <a:spcBef>
                <a:spcPts val="250"/>
              </a:spcBef>
              <a:spcAft>
                <a:spcPts val="0"/>
              </a:spcAft>
              <a:buSzPts val="1000"/>
              <a:buFont typeface="Arial"/>
              <a:buNone/>
              <a:defRPr sz="1000"/>
            </a:lvl5pPr>
            <a:lvl6pPr marL="2743200" lvl="5" indent="-342900" algn="l">
              <a:spcBef>
                <a:spcPts val="25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2" name="Google Shape;152;p41"/>
          <p:cNvSpPr txBox="1">
            <a:spLocks noGrp="1"/>
          </p:cNvSpPr>
          <p:nvPr>
            <p:ph type="body" idx="2"/>
          </p:nvPr>
        </p:nvSpPr>
        <p:spPr>
          <a:xfrm>
            <a:off x="542926" y="914400"/>
            <a:ext cx="4721515" cy="22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lt2"/>
                </a:solidFill>
              </a:defRPr>
            </a:lvl1pPr>
            <a:lvl2pPr marL="914400" lvl="1" indent="-228600" algn="l">
              <a:spcBef>
                <a:spcPts val="300"/>
              </a:spcBef>
              <a:spcAft>
                <a:spcPts val="0"/>
              </a:spcAft>
              <a:buSzPts val="1200"/>
              <a:buNone/>
              <a:defRPr sz="1200" b="1">
                <a:solidFill>
                  <a:schemeClr val="lt2"/>
                </a:solidFill>
              </a:defRPr>
            </a:lvl2pPr>
            <a:lvl3pPr marL="1371600" lvl="2" indent="-228600" algn="l">
              <a:spcBef>
                <a:spcPts val="300"/>
              </a:spcBef>
              <a:spcAft>
                <a:spcPts val="0"/>
              </a:spcAft>
              <a:buSzPts val="1200"/>
              <a:buFont typeface="Arial"/>
              <a:buNone/>
              <a:defRPr sz="1200" b="1">
                <a:solidFill>
                  <a:schemeClr val="lt2"/>
                </a:solidFill>
              </a:defRPr>
            </a:lvl3pPr>
            <a:lvl4pPr marL="1828800" lvl="3" indent="-228600" algn="l">
              <a:spcBef>
                <a:spcPts val="300"/>
              </a:spcBef>
              <a:spcAft>
                <a:spcPts val="0"/>
              </a:spcAft>
              <a:buSzPts val="1200"/>
              <a:buNone/>
              <a:defRPr sz="1200" b="1">
                <a:solidFill>
                  <a:schemeClr val="lt2"/>
                </a:solidFill>
              </a:defRPr>
            </a:lvl4pPr>
            <a:lvl5pPr marL="2286000" lvl="4" indent="-228600" algn="l">
              <a:spcBef>
                <a:spcPts val="300"/>
              </a:spcBef>
              <a:spcAft>
                <a:spcPts val="0"/>
              </a:spcAft>
              <a:buSzPts val="1200"/>
              <a:buFont typeface="Arial"/>
              <a:buNone/>
              <a:defRPr sz="1200" b="1">
                <a:solidFill>
                  <a:schemeClr val="lt2"/>
                </a:solidFill>
              </a:defRPr>
            </a:lvl5pPr>
            <a:lvl6pPr marL="2743200" lvl="5" indent="-342900" algn="l">
              <a:spcBef>
                <a:spcPts val="3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3" name="Google Shape;153;p41"/>
          <p:cNvSpPr>
            <a:spLocks noGrp="1"/>
          </p:cNvSpPr>
          <p:nvPr>
            <p:ph type="pic" idx="3"/>
          </p:nvPr>
        </p:nvSpPr>
        <p:spPr>
          <a:xfrm>
            <a:off x="6094533" y="1518803"/>
            <a:ext cx="5207000" cy="3916363"/>
          </a:xfrm>
          <a:prstGeom prst="rect">
            <a:avLst/>
          </a:prstGeom>
          <a:noFill/>
          <a:ln>
            <a:noFill/>
          </a:ln>
        </p:spPr>
      </p:sp>
      <p:sp>
        <p:nvSpPr>
          <p:cNvPr id="2" name="Google Shape;40;p32">
            <a:extLst>
              <a:ext uri="{FF2B5EF4-FFF2-40B4-BE49-F238E27FC236}">
                <a16:creationId xmlns:a16="http://schemas.microsoft.com/office/drawing/2014/main" id="{CF1FA4CE-8F1F-B015-D3A9-80A4DD73C15C}"/>
              </a:ext>
            </a:extLst>
          </p:cNvPr>
          <p:cNvSpPr txBox="1"/>
          <p:nvPr userDrawn="1"/>
        </p:nvSpPr>
        <p:spPr>
          <a:xfrm>
            <a:off x="516835" y="6334236"/>
            <a:ext cx="3550340" cy="2974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None/>
            </a:pPr>
            <a:r>
              <a:rPr lang="ru-RU" sz="12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ЗоРРО</a:t>
            </a:r>
            <a:r>
              <a:rPr lang="ru-RU" sz="1200" b="1" i="0" u="none" strike="noStrike" cap="none" baseline="30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® </a:t>
            </a:r>
            <a:r>
              <a:rPr lang="en-US" sz="12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024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| Internal Use Only</a:t>
            </a:r>
            <a:endParaRPr b="0" dirty="0"/>
          </a:p>
        </p:txBody>
      </p:sp>
      <p:pic>
        <p:nvPicPr>
          <p:cNvPr id="3" name="Google Shape;53;p32">
            <a:extLst>
              <a:ext uri="{FF2B5EF4-FFF2-40B4-BE49-F238E27FC236}">
                <a16:creationId xmlns:a16="http://schemas.microsoft.com/office/drawing/2014/main" id="{3D0BF1EF-6E6F-1E13-411B-A814F1270996}"/>
              </a:ext>
            </a:extLst>
          </p:cNvPr>
          <p:cNvPicPr preferRelativeResize="0"/>
          <p:nvPr userDrawn="1"/>
        </p:nvPicPr>
        <p:blipFill rotWithShape="1">
          <a:blip r:embed="rId3">
            <a:alphaModFix/>
          </a:blip>
          <a:srcRect/>
          <a:stretch/>
        </p:blipFill>
        <p:spPr>
          <a:xfrm>
            <a:off x="10566400" y="6399249"/>
            <a:ext cx="1205930" cy="16552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4" name="Google Shape;54;p32">
            <a:extLst>
              <a:ext uri="{FF2B5EF4-FFF2-40B4-BE49-F238E27FC236}">
                <a16:creationId xmlns:a16="http://schemas.microsoft.com/office/drawing/2014/main" id="{F07117B0-C657-F67C-1A6B-EEB7AEFF64D9}"/>
              </a:ext>
            </a:extLst>
          </p:cNvPr>
          <p:cNvCxnSpPr>
            <a:cxnSpLocks/>
          </p:cNvCxnSpPr>
          <p:nvPr userDrawn="1"/>
        </p:nvCxnSpPr>
        <p:spPr>
          <a:xfrm>
            <a:off x="3743325" y="6492239"/>
            <a:ext cx="6630035" cy="0"/>
          </a:xfrm>
          <a:prstGeom prst="straightConnector1">
            <a:avLst/>
          </a:prstGeom>
          <a:solidFill>
            <a:schemeClr val="accent2"/>
          </a:solidFill>
          <a:ln w="19050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01C015D2-7278-2CE8-7649-70D136B8486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42926" y="397563"/>
            <a:ext cx="1573333" cy="418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1182272"/>
      </p:ext>
    </p:extLst>
  </p:cSld>
  <p:clrMapOvr>
    <a:masterClrMapping/>
  </p:clrMapOvr>
  <p:transition>
    <p:wipe dir="r"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eader + Title + Content + Ipad (clear)" preserve="1">
  <p:cSld name="1_Header + Title + Content + Ipad (clear)">
    <p:spTree>
      <p:nvGrpSpPr>
        <p:cNvPr id="1" name="Shape 1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Google Shape;145;p41"/>
          <p:cNvSpPr/>
          <p:nvPr/>
        </p:nvSpPr>
        <p:spPr>
          <a:xfrm>
            <a:off x="0" y="0"/>
            <a:ext cx="11132288" cy="5869172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0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46" name="Google Shape;146;p4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606756" y="1350718"/>
            <a:ext cx="6165574" cy="4273170"/>
          </a:xfrm>
          <a:prstGeom prst="rect">
            <a:avLst/>
          </a:prstGeom>
          <a:noFill/>
          <a:ln>
            <a:noFill/>
          </a:ln>
        </p:spPr>
      </p:pic>
      <p:sp>
        <p:nvSpPr>
          <p:cNvPr id="147" name="Google Shape;147;p41"/>
          <p:cNvSpPr txBox="1">
            <a:spLocks noGrp="1"/>
          </p:cNvSpPr>
          <p:nvPr>
            <p:ph type="title"/>
          </p:nvPr>
        </p:nvSpPr>
        <p:spPr>
          <a:xfrm>
            <a:off x="542926" y="1427277"/>
            <a:ext cx="4714874" cy="81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accent1"/>
                </a:solidFill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8" name="Google Shape;148;p41"/>
          <p:cNvSpPr txBox="1">
            <a:spLocks noGrp="1"/>
          </p:cNvSpPr>
          <p:nvPr>
            <p:ph type="sldNum" idx="12"/>
          </p:nvPr>
        </p:nvSpPr>
        <p:spPr>
          <a:xfrm>
            <a:off x="10512506" y="375991"/>
            <a:ext cx="1259824" cy="20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49" name="Google Shape;149;p41"/>
          <p:cNvSpPr txBox="1">
            <a:spLocks noGrp="1"/>
          </p:cNvSpPr>
          <p:nvPr>
            <p:ph type="body" idx="1"/>
          </p:nvPr>
        </p:nvSpPr>
        <p:spPr>
          <a:xfrm>
            <a:off x="542925" y="2447173"/>
            <a:ext cx="4714875" cy="27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marL="914400" lvl="1" indent="-228600" algn="l">
              <a:spcBef>
                <a:spcPts val="35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spcBef>
                <a:spcPts val="300"/>
              </a:spcBef>
              <a:spcAft>
                <a:spcPts val="0"/>
              </a:spcAft>
              <a:buSzPts val="1000"/>
              <a:buFont typeface="Arial"/>
              <a:buNone/>
              <a:defRPr sz="1000"/>
            </a:lvl3pPr>
            <a:lvl4pPr marL="1828800" lvl="3" indent="-228600" algn="l">
              <a:spcBef>
                <a:spcPts val="250"/>
              </a:spcBef>
              <a:spcAft>
                <a:spcPts val="0"/>
              </a:spcAft>
              <a:buSzPts val="1000"/>
              <a:buNone/>
              <a:defRPr sz="1000"/>
            </a:lvl4pPr>
            <a:lvl5pPr marL="2286000" lvl="4" indent="-228600" algn="l">
              <a:spcBef>
                <a:spcPts val="250"/>
              </a:spcBef>
              <a:spcAft>
                <a:spcPts val="0"/>
              </a:spcAft>
              <a:buSzPts val="1000"/>
              <a:buFont typeface="Arial"/>
              <a:buNone/>
              <a:defRPr sz="1000"/>
            </a:lvl5pPr>
            <a:lvl6pPr marL="2743200" lvl="5" indent="-342900" algn="l">
              <a:spcBef>
                <a:spcPts val="25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2" name="Google Shape;152;p41"/>
          <p:cNvSpPr txBox="1">
            <a:spLocks noGrp="1"/>
          </p:cNvSpPr>
          <p:nvPr>
            <p:ph type="body" idx="2"/>
          </p:nvPr>
        </p:nvSpPr>
        <p:spPr>
          <a:xfrm>
            <a:off x="542926" y="914400"/>
            <a:ext cx="4721515" cy="22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lt2"/>
                </a:solidFill>
              </a:defRPr>
            </a:lvl1pPr>
            <a:lvl2pPr marL="914400" lvl="1" indent="-228600" algn="l">
              <a:spcBef>
                <a:spcPts val="300"/>
              </a:spcBef>
              <a:spcAft>
                <a:spcPts val="0"/>
              </a:spcAft>
              <a:buSzPts val="1200"/>
              <a:buNone/>
              <a:defRPr sz="1200" b="1">
                <a:solidFill>
                  <a:schemeClr val="lt2"/>
                </a:solidFill>
              </a:defRPr>
            </a:lvl2pPr>
            <a:lvl3pPr marL="1371600" lvl="2" indent="-228600" algn="l">
              <a:spcBef>
                <a:spcPts val="300"/>
              </a:spcBef>
              <a:spcAft>
                <a:spcPts val="0"/>
              </a:spcAft>
              <a:buSzPts val="1200"/>
              <a:buFont typeface="Arial"/>
              <a:buNone/>
              <a:defRPr sz="1200" b="1">
                <a:solidFill>
                  <a:schemeClr val="lt2"/>
                </a:solidFill>
              </a:defRPr>
            </a:lvl3pPr>
            <a:lvl4pPr marL="1828800" lvl="3" indent="-228600" algn="l">
              <a:spcBef>
                <a:spcPts val="300"/>
              </a:spcBef>
              <a:spcAft>
                <a:spcPts val="0"/>
              </a:spcAft>
              <a:buSzPts val="1200"/>
              <a:buNone/>
              <a:defRPr sz="1200" b="1">
                <a:solidFill>
                  <a:schemeClr val="lt2"/>
                </a:solidFill>
              </a:defRPr>
            </a:lvl4pPr>
            <a:lvl5pPr marL="2286000" lvl="4" indent="-228600" algn="l">
              <a:spcBef>
                <a:spcPts val="300"/>
              </a:spcBef>
              <a:spcAft>
                <a:spcPts val="0"/>
              </a:spcAft>
              <a:buSzPts val="1200"/>
              <a:buFont typeface="Arial"/>
              <a:buNone/>
              <a:defRPr sz="1200" b="1">
                <a:solidFill>
                  <a:schemeClr val="lt2"/>
                </a:solidFill>
              </a:defRPr>
            </a:lvl5pPr>
            <a:lvl6pPr marL="2743200" lvl="5" indent="-342900" algn="l">
              <a:spcBef>
                <a:spcPts val="3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3" name="Google Shape;153;p41"/>
          <p:cNvSpPr>
            <a:spLocks noGrp="1"/>
          </p:cNvSpPr>
          <p:nvPr>
            <p:ph type="pic" idx="3"/>
          </p:nvPr>
        </p:nvSpPr>
        <p:spPr>
          <a:xfrm>
            <a:off x="6094533" y="1518803"/>
            <a:ext cx="5207000" cy="3916363"/>
          </a:xfrm>
          <a:prstGeom prst="rect">
            <a:avLst/>
          </a:prstGeom>
          <a:noFill/>
          <a:ln>
            <a:noFill/>
          </a:ln>
        </p:spPr>
      </p:sp>
      <p:sp>
        <p:nvSpPr>
          <p:cNvPr id="2" name="Google Shape;40;p32">
            <a:extLst>
              <a:ext uri="{FF2B5EF4-FFF2-40B4-BE49-F238E27FC236}">
                <a16:creationId xmlns:a16="http://schemas.microsoft.com/office/drawing/2014/main" id="{CF1FA4CE-8F1F-B015-D3A9-80A4DD73C15C}"/>
              </a:ext>
            </a:extLst>
          </p:cNvPr>
          <p:cNvSpPr txBox="1"/>
          <p:nvPr userDrawn="1"/>
        </p:nvSpPr>
        <p:spPr>
          <a:xfrm>
            <a:off x="516835" y="6334236"/>
            <a:ext cx="3550340" cy="2974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None/>
            </a:pPr>
            <a:r>
              <a:rPr lang="ru-RU" sz="12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ЗоРРО</a:t>
            </a:r>
            <a:r>
              <a:rPr lang="ru-RU" sz="1200" b="1" i="0" u="none" strike="noStrike" cap="none" baseline="30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® </a:t>
            </a:r>
            <a:r>
              <a:rPr lang="de-CH" sz="1200" b="1" i="0" u="none" strike="noStrike" cap="none" baseline="30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2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024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| Internal Use Only</a:t>
            </a:r>
            <a:endParaRPr b="0" dirty="0"/>
          </a:p>
        </p:txBody>
      </p:sp>
      <p:pic>
        <p:nvPicPr>
          <p:cNvPr id="5" name="Google Shape;53;p32">
            <a:extLst>
              <a:ext uri="{FF2B5EF4-FFF2-40B4-BE49-F238E27FC236}">
                <a16:creationId xmlns:a16="http://schemas.microsoft.com/office/drawing/2014/main" id="{B314FD19-2CE3-AA60-FB14-11970F5FFDE8}"/>
              </a:ext>
            </a:extLst>
          </p:cNvPr>
          <p:cNvPicPr preferRelativeResize="0"/>
          <p:nvPr userDrawn="1"/>
        </p:nvPicPr>
        <p:blipFill rotWithShape="1">
          <a:blip r:embed="rId3">
            <a:alphaModFix/>
          </a:blip>
          <a:srcRect/>
          <a:stretch/>
        </p:blipFill>
        <p:spPr>
          <a:xfrm>
            <a:off x="10566400" y="6399249"/>
            <a:ext cx="1205930" cy="16552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7" name="Google Shape;54;p32">
            <a:extLst>
              <a:ext uri="{FF2B5EF4-FFF2-40B4-BE49-F238E27FC236}">
                <a16:creationId xmlns:a16="http://schemas.microsoft.com/office/drawing/2014/main" id="{66766B51-7663-7F46-CA19-0C68F6CB1C12}"/>
              </a:ext>
            </a:extLst>
          </p:cNvPr>
          <p:cNvCxnSpPr>
            <a:cxnSpLocks/>
          </p:cNvCxnSpPr>
          <p:nvPr userDrawn="1"/>
        </p:nvCxnSpPr>
        <p:spPr>
          <a:xfrm>
            <a:off x="3743325" y="6492239"/>
            <a:ext cx="5330337" cy="0"/>
          </a:xfrm>
          <a:prstGeom prst="straightConnector1">
            <a:avLst/>
          </a:prstGeom>
          <a:solidFill>
            <a:schemeClr val="accent2"/>
          </a:solidFill>
          <a:ln w="19050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24BE4742-7AF2-A0B4-1EF8-61051EF6448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261901" y="6337420"/>
            <a:ext cx="1153663" cy="306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2512758"/>
      </p:ext>
    </p:extLst>
  </p:cSld>
  <p:clrMapOvr>
    <a:masterClrMapping/>
  </p:clrMapOvr>
  <p:transition>
    <p:wipe dir="r"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Content + Ipad (dark)" preserve="1">
  <p:cSld name="Title + Content + Ipad (dark)">
    <p:bg>
      <p:bgPr>
        <a:solidFill>
          <a:schemeClr val="lt1"/>
        </a:solidFill>
        <a:effectLst/>
      </p:bgPr>
    </p:bg>
    <p:spTree>
      <p:nvGrpSpPr>
        <p:cNvPr id="1" name="Shape 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7" name="Google Shape;157;p42"/>
          <p:cNvPicPr preferRelativeResize="0"/>
          <p:nvPr/>
        </p:nvPicPr>
        <p:blipFill rotWithShape="1">
          <a:blip r:embed="rId2">
            <a:alphaModFix/>
          </a:blip>
          <a:srcRect l="50000" r="18360"/>
          <a:stretch/>
        </p:blipFill>
        <p:spPr>
          <a:xfrm rot="-5400000">
            <a:off x="2667002" y="-2667003"/>
            <a:ext cx="6858002" cy="12192003"/>
          </a:xfrm>
          <a:prstGeom prst="rect">
            <a:avLst/>
          </a:prstGeom>
          <a:noFill/>
          <a:ln>
            <a:noFill/>
          </a:ln>
        </p:spPr>
      </p:pic>
      <p:sp>
        <p:nvSpPr>
          <p:cNvPr id="158" name="Google Shape;158;p42"/>
          <p:cNvSpPr/>
          <p:nvPr/>
        </p:nvSpPr>
        <p:spPr>
          <a:xfrm>
            <a:off x="0" y="0"/>
            <a:ext cx="11132288" cy="5869172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0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59" name="Google Shape;159;p4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606756" y="1350718"/>
            <a:ext cx="6165574" cy="4273170"/>
          </a:xfrm>
          <a:prstGeom prst="rect">
            <a:avLst/>
          </a:prstGeom>
          <a:noFill/>
          <a:ln>
            <a:noFill/>
          </a:ln>
        </p:spPr>
      </p:pic>
      <p:sp>
        <p:nvSpPr>
          <p:cNvPr id="160" name="Google Shape;160;p42"/>
          <p:cNvSpPr txBox="1">
            <a:spLocks noGrp="1"/>
          </p:cNvSpPr>
          <p:nvPr>
            <p:ph type="sldNum" idx="12"/>
          </p:nvPr>
        </p:nvSpPr>
        <p:spPr>
          <a:xfrm>
            <a:off x="10512506" y="375991"/>
            <a:ext cx="1259824" cy="20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63" name="Google Shape;163;p42"/>
          <p:cNvSpPr txBox="1">
            <a:spLocks noGrp="1"/>
          </p:cNvSpPr>
          <p:nvPr>
            <p:ph type="title"/>
          </p:nvPr>
        </p:nvSpPr>
        <p:spPr>
          <a:xfrm>
            <a:off x="542926" y="1427277"/>
            <a:ext cx="4644160" cy="81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2"/>
                </a:solidFill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" name="Google Shape;164;p42"/>
          <p:cNvSpPr txBox="1">
            <a:spLocks noGrp="1"/>
          </p:cNvSpPr>
          <p:nvPr>
            <p:ph type="body" idx="1"/>
          </p:nvPr>
        </p:nvSpPr>
        <p:spPr>
          <a:xfrm>
            <a:off x="542925" y="2447173"/>
            <a:ext cx="4644161" cy="27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2"/>
                </a:solidFill>
              </a:defRPr>
            </a:lvl1pPr>
            <a:lvl2pPr marL="914400" lvl="1" indent="-228600" algn="l">
              <a:spcBef>
                <a:spcPts val="350"/>
              </a:spcBef>
              <a:spcAft>
                <a:spcPts val="0"/>
              </a:spcAft>
              <a:buSzPts val="1200"/>
              <a:buNone/>
              <a:defRPr sz="1200">
                <a:solidFill>
                  <a:schemeClr val="dk2"/>
                </a:solidFill>
              </a:defRPr>
            </a:lvl2pPr>
            <a:lvl3pPr marL="1371600" lvl="2" indent="-228600" algn="l">
              <a:spcBef>
                <a:spcPts val="300"/>
              </a:spcBef>
              <a:spcAft>
                <a:spcPts val="0"/>
              </a:spcAft>
              <a:buSzPts val="1000"/>
              <a:buFont typeface="Arial"/>
              <a:buNone/>
              <a:defRPr sz="1000">
                <a:solidFill>
                  <a:schemeClr val="dk2"/>
                </a:solidFill>
              </a:defRPr>
            </a:lvl3pPr>
            <a:lvl4pPr marL="1828800" lvl="3" indent="-228600" algn="l">
              <a:spcBef>
                <a:spcPts val="250"/>
              </a:spcBef>
              <a:spcAft>
                <a:spcPts val="0"/>
              </a:spcAft>
              <a:buSzPts val="1000"/>
              <a:buNone/>
              <a:defRPr sz="1000">
                <a:solidFill>
                  <a:schemeClr val="dk2"/>
                </a:solidFill>
              </a:defRPr>
            </a:lvl4pPr>
            <a:lvl5pPr marL="2286000" lvl="4" indent="-228600" algn="l">
              <a:spcBef>
                <a:spcPts val="250"/>
              </a:spcBef>
              <a:spcAft>
                <a:spcPts val="0"/>
              </a:spcAft>
              <a:buSzPts val="1000"/>
              <a:buFont typeface="Arial"/>
              <a:buNone/>
              <a:defRPr sz="1000">
                <a:solidFill>
                  <a:schemeClr val="dk2"/>
                </a:solidFill>
              </a:defRPr>
            </a:lvl5pPr>
            <a:lvl6pPr marL="2743200" lvl="5" indent="-342900" algn="l">
              <a:spcBef>
                <a:spcPts val="25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5" name="Google Shape;165;p42"/>
          <p:cNvSpPr txBox="1">
            <a:spLocks noGrp="1"/>
          </p:cNvSpPr>
          <p:nvPr>
            <p:ph type="body" idx="2"/>
          </p:nvPr>
        </p:nvSpPr>
        <p:spPr>
          <a:xfrm>
            <a:off x="542926" y="914400"/>
            <a:ext cx="4650701" cy="22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lt2"/>
                </a:solidFill>
              </a:defRPr>
            </a:lvl1pPr>
            <a:lvl2pPr marL="914400" lvl="1" indent="-228600" algn="l">
              <a:spcBef>
                <a:spcPts val="300"/>
              </a:spcBef>
              <a:spcAft>
                <a:spcPts val="0"/>
              </a:spcAft>
              <a:buSzPts val="1200"/>
              <a:buNone/>
              <a:defRPr sz="1200" b="1">
                <a:solidFill>
                  <a:schemeClr val="lt2"/>
                </a:solidFill>
              </a:defRPr>
            </a:lvl2pPr>
            <a:lvl3pPr marL="1371600" lvl="2" indent="-228600" algn="l">
              <a:spcBef>
                <a:spcPts val="300"/>
              </a:spcBef>
              <a:spcAft>
                <a:spcPts val="0"/>
              </a:spcAft>
              <a:buSzPts val="1200"/>
              <a:buFont typeface="Arial"/>
              <a:buNone/>
              <a:defRPr sz="1200" b="1">
                <a:solidFill>
                  <a:schemeClr val="lt2"/>
                </a:solidFill>
              </a:defRPr>
            </a:lvl3pPr>
            <a:lvl4pPr marL="1828800" lvl="3" indent="-228600" algn="l">
              <a:spcBef>
                <a:spcPts val="300"/>
              </a:spcBef>
              <a:spcAft>
                <a:spcPts val="0"/>
              </a:spcAft>
              <a:buSzPts val="1200"/>
              <a:buNone/>
              <a:defRPr sz="1200" b="1">
                <a:solidFill>
                  <a:schemeClr val="lt2"/>
                </a:solidFill>
              </a:defRPr>
            </a:lvl4pPr>
            <a:lvl5pPr marL="2286000" lvl="4" indent="-228600" algn="l">
              <a:spcBef>
                <a:spcPts val="300"/>
              </a:spcBef>
              <a:spcAft>
                <a:spcPts val="0"/>
              </a:spcAft>
              <a:buSzPts val="1200"/>
              <a:buFont typeface="Arial"/>
              <a:buNone/>
              <a:defRPr sz="1200" b="1">
                <a:solidFill>
                  <a:schemeClr val="lt2"/>
                </a:solidFill>
              </a:defRPr>
            </a:lvl5pPr>
            <a:lvl6pPr marL="2743200" lvl="5" indent="-342900" algn="l">
              <a:spcBef>
                <a:spcPts val="3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6" name="Google Shape;166;p42"/>
          <p:cNvSpPr>
            <a:spLocks noGrp="1"/>
          </p:cNvSpPr>
          <p:nvPr>
            <p:ph type="pic" idx="3"/>
          </p:nvPr>
        </p:nvSpPr>
        <p:spPr>
          <a:xfrm>
            <a:off x="6094533" y="1518803"/>
            <a:ext cx="5207000" cy="3916363"/>
          </a:xfrm>
          <a:prstGeom prst="rect">
            <a:avLst/>
          </a:prstGeom>
          <a:noFill/>
          <a:ln>
            <a:noFill/>
          </a:ln>
        </p:spPr>
      </p:sp>
      <p:pic>
        <p:nvPicPr>
          <p:cNvPr id="2" name="Google Shape;112;p38">
            <a:extLst>
              <a:ext uri="{FF2B5EF4-FFF2-40B4-BE49-F238E27FC236}">
                <a16:creationId xmlns:a16="http://schemas.microsoft.com/office/drawing/2014/main" id="{BC2BC90B-248B-8262-4A8A-0E429CC73A37}"/>
              </a:ext>
            </a:extLst>
          </p:cNvPr>
          <p:cNvPicPr preferRelativeResize="0"/>
          <p:nvPr userDrawn="1"/>
        </p:nvPicPr>
        <p:blipFill rotWithShape="1">
          <a:blip r:embed="rId4">
            <a:alphaModFix/>
          </a:blip>
          <a:srcRect/>
          <a:stretch/>
        </p:blipFill>
        <p:spPr>
          <a:xfrm>
            <a:off x="10566400" y="6399249"/>
            <a:ext cx="1205930" cy="16552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3" name="Google Shape;54;p32">
            <a:extLst>
              <a:ext uri="{FF2B5EF4-FFF2-40B4-BE49-F238E27FC236}">
                <a16:creationId xmlns:a16="http://schemas.microsoft.com/office/drawing/2014/main" id="{2A16D0D1-9FE0-A458-D666-82CAA49D4DA7}"/>
              </a:ext>
            </a:extLst>
          </p:cNvPr>
          <p:cNvCxnSpPr>
            <a:cxnSpLocks/>
          </p:cNvCxnSpPr>
          <p:nvPr userDrawn="1"/>
        </p:nvCxnSpPr>
        <p:spPr>
          <a:xfrm>
            <a:off x="3743325" y="6492239"/>
            <a:ext cx="6630035" cy="0"/>
          </a:xfrm>
          <a:prstGeom prst="straightConnector1">
            <a:avLst/>
          </a:prstGeom>
          <a:solidFill>
            <a:schemeClr val="accent2"/>
          </a:solidFill>
          <a:ln w="19050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4" name="Google Shape;40;p32">
            <a:extLst>
              <a:ext uri="{FF2B5EF4-FFF2-40B4-BE49-F238E27FC236}">
                <a16:creationId xmlns:a16="http://schemas.microsoft.com/office/drawing/2014/main" id="{F106C009-12D7-F5D9-1904-263B7D9343B7}"/>
              </a:ext>
            </a:extLst>
          </p:cNvPr>
          <p:cNvSpPr txBox="1"/>
          <p:nvPr userDrawn="1"/>
        </p:nvSpPr>
        <p:spPr>
          <a:xfrm>
            <a:off x="516835" y="6334236"/>
            <a:ext cx="3550340" cy="2974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None/>
            </a:pPr>
            <a:r>
              <a:rPr lang="ru-RU" sz="1200" b="1" i="0" u="none" strike="noStrike" cap="none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ЗоРРО</a:t>
            </a:r>
            <a:r>
              <a:rPr lang="ru-RU" sz="1200" b="1" i="0" u="none" strike="noStrike" cap="none" baseline="3000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® </a:t>
            </a:r>
            <a:r>
              <a:rPr lang="de-CH" sz="1200" b="1" i="0" u="none" strike="noStrike" cap="none" baseline="3000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200" b="1" i="0" u="none" strike="noStrike" cap="none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2024 </a:t>
            </a:r>
            <a:r>
              <a:rPr lang="en-US" sz="1200" b="0" i="0" u="none" strike="noStrike" cap="none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| Internal Use Only</a:t>
            </a:r>
            <a:endParaRPr b="0" dirty="0">
              <a:solidFill>
                <a:srgbClr val="FFFFFF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F5AF199-4A20-CBCD-D384-5C5FD986CD5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41773" y="397563"/>
            <a:ext cx="1573333" cy="418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9527870"/>
      </p:ext>
    </p:extLst>
  </p:cSld>
  <p:clrMapOvr>
    <a:masterClrMapping/>
  </p:clrMapOvr>
  <p:transition>
    <p:wipe dir="r"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Content + Ipad (dark)" preserve="1" userDrawn="1">
  <p:cSld name="1_Title + Content + Ipad (dark)">
    <p:bg>
      <p:bgPr>
        <a:solidFill>
          <a:schemeClr val="lt1"/>
        </a:solidFill>
        <a:effectLst/>
      </p:bgPr>
    </p:bg>
    <p:spTree>
      <p:nvGrpSpPr>
        <p:cNvPr id="1" name="Shape 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7" name="Google Shape;157;p42"/>
          <p:cNvPicPr preferRelativeResize="0"/>
          <p:nvPr/>
        </p:nvPicPr>
        <p:blipFill rotWithShape="1">
          <a:blip r:embed="rId2">
            <a:alphaModFix/>
          </a:blip>
          <a:srcRect l="50000" r="18360"/>
          <a:stretch/>
        </p:blipFill>
        <p:spPr>
          <a:xfrm rot="-5400000">
            <a:off x="2667002" y="-2667003"/>
            <a:ext cx="6858002" cy="12192003"/>
          </a:xfrm>
          <a:prstGeom prst="rect">
            <a:avLst/>
          </a:prstGeom>
          <a:noFill/>
          <a:ln>
            <a:noFill/>
          </a:ln>
        </p:spPr>
      </p:pic>
      <p:sp>
        <p:nvSpPr>
          <p:cNvPr id="158" name="Google Shape;158;p42"/>
          <p:cNvSpPr/>
          <p:nvPr/>
        </p:nvSpPr>
        <p:spPr>
          <a:xfrm>
            <a:off x="0" y="0"/>
            <a:ext cx="11132288" cy="5869172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0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59" name="Google Shape;159;p4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606756" y="1440609"/>
            <a:ext cx="6165574" cy="3769209"/>
          </a:xfrm>
          <a:prstGeom prst="rect">
            <a:avLst/>
          </a:prstGeom>
          <a:noFill/>
          <a:ln>
            <a:noFill/>
          </a:ln>
        </p:spPr>
      </p:pic>
      <p:sp>
        <p:nvSpPr>
          <p:cNvPr id="160" name="Google Shape;160;p42"/>
          <p:cNvSpPr txBox="1">
            <a:spLocks noGrp="1"/>
          </p:cNvSpPr>
          <p:nvPr>
            <p:ph type="sldNum" idx="12"/>
          </p:nvPr>
        </p:nvSpPr>
        <p:spPr>
          <a:xfrm>
            <a:off x="10512506" y="375991"/>
            <a:ext cx="1259824" cy="20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63" name="Google Shape;163;p42"/>
          <p:cNvSpPr txBox="1">
            <a:spLocks noGrp="1"/>
          </p:cNvSpPr>
          <p:nvPr>
            <p:ph type="title"/>
          </p:nvPr>
        </p:nvSpPr>
        <p:spPr>
          <a:xfrm>
            <a:off x="542926" y="1427277"/>
            <a:ext cx="4644160" cy="81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2"/>
                </a:solidFill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" name="Google Shape;164;p42"/>
          <p:cNvSpPr txBox="1">
            <a:spLocks noGrp="1"/>
          </p:cNvSpPr>
          <p:nvPr>
            <p:ph type="body" idx="1"/>
          </p:nvPr>
        </p:nvSpPr>
        <p:spPr>
          <a:xfrm>
            <a:off x="542925" y="2447173"/>
            <a:ext cx="4644161" cy="27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2"/>
                </a:solidFill>
              </a:defRPr>
            </a:lvl1pPr>
            <a:lvl2pPr marL="914400" lvl="1" indent="-228600" algn="l">
              <a:spcBef>
                <a:spcPts val="350"/>
              </a:spcBef>
              <a:spcAft>
                <a:spcPts val="0"/>
              </a:spcAft>
              <a:buSzPts val="1200"/>
              <a:buNone/>
              <a:defRPr sz="1200">
                <a:solidFill>
                  <a:schemeClr val="dk2"/>
                </a:solidFill>
              </a:defRPr>
            </a:lvl2pPr>
            <a:lvl3pPr marL="1371600" lvl="2" indent="-228600" algn="l">
              <a:spcBef>
                <a:spcPts val="300"/>
              </a:spcBef>
              <a:spcAft>
                <a:spcPts val="0"/>
              </a:spcAft>
              <a:buSzPts val="1000"/>
              <a:buFont typeface="Arial"/>
              <a:buNone/>
              <a:defRPr sz="1000">
                <a:solidFill>
                  <a:schemeClr val="dk2"/>
                </a:solidFill>
              </a:defRPr>
            </a:lvl3pPr>
            <a:lvl4pPr marL="1828800" lvl="3" indent="-228600" algn="l">
              <a:spcBef>
                <a:spcPts val="250"/>
              </a:spcBef>
              <a:spcAft>
                <a:spcPts val="0"/>
              </a:spcAft>
              <a:buSzPts val="1000"/>
              <a:buNone/>
              <a:defRPr sz="1000">
                <a:solidFill>
                  <a:schemeClr val="dk2"/>
                </a:solidFill>
              </a:defRPr>
            </a:lvl4pPr>
            <a:lvl5pPr marL="2286000" lvl="4" indent="-228600" algn="l">
              <a:spcBef>
                <a:spcPts val="250"/>
              </a:spcBef>
              <a:spcAft>
                <a:spcPts val="0"/>
              </a:spcAft>
              <a:buSzPts val="1000"/>
              <a:buFont typeface="Arial"/>
              <a:buNone/>
              <a:defRPr sz="1000">
                <a:solidFill>
                  <a:schemeClr val="dk2"/>
                </a:solidFill>
              </a:defRPr>
            </a:lvl5pPr>
            <a:lvl6pPr marL="2743200" lvl="5" indent="-342900" algn="l">
              <a:spcBef>
                <a:spcPts val="25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5" name="Google Shape;165;p42"/>
          <p:cNvSpPr txBox="1">
            <a:spLocks noGrp="1"/>
          </p:cNvSpPr>
          <p:nvPr>
            <p:ph type="body" idx="2"/>
          </p:nvPr>
        </p:nvSpPr>
        <p:spPr>
          <a:xfrm>
            <a:off x="542926" y="914400"/>
            <a:ext cx="4650701" cy="22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lt2"/>
                </a:solidFill>
              </a:defRPr>
            </a:lvl1pPr>
            <a:lvl2pPr marL="914400" lvl="1" indent="-228600" algn="l">
              <a:spcBef>
                <a:spcPts val="300"/>
              </a:spcBef>
              <a:spcAft>
                <a:spcPts val="0"/>
              </a:spcAft>
              <a:buSzPts val="1200"/>
              <a:buNone/>
              <a:defRPr sz="1200" b="1">
                <a:solidFill>
                  <a:schemeClr val="lt2"/>
                </a:solidFill>
              </a:defRPr>
            </a:lvl2pPr>
            <a:lvl3pPr marL="1371600" lvl="2" indent="-228600" algn="l">
              <a:spcBef>
                <a:spcPts val="300"/>
              </a:spcBef>
              <a:spcAft>
                <a:spcPts val="0"/>
              </a:spcAft>
              <a:buSzPts val="1200"/>
              <a:buFont typeface="Arial"/>
              <a:buNone/>
              <a:defRPr sz="1200" b="1">
                <a:solidFill>
                  <a:schemeClr val="lt2"/>
                </a:solidFill>
              </a:defRPr>
            </a:lvl3pPr>
            <a:lvl4pPr marL="1828800" lvl="3" indent="-228600" algn="l">
              <a:spcBef>
                <a:spcPts val="300"/>
              </a:spcBef>
              <a:spcAft>
                <a:spcPts val="0"/>
              </a:spcAft>
              <a:buSzPts val="1200"/>
              <a:buNone/>
              <a:defRPr sz="1200" b="1">
                <a:solidFill>
                  <a:schemeClr val="lt2"/>
                </a:solidFill>
              </a:defRPr>
            </a:lvl4pPr>
            <a:lvl5pPr marL="2286000" lvl="4" indent="-228600" algn="l">
              <a:spcBef>
                <a:spcPts val="300"/>
              </a:spcBef>
              <a:spcAft>
                <a:spcPts val="0"/>
              </a:spcAft>
              <a:buSzPts val="1200"/>
              <a:buFont typeface="Arial"/>
              <a:buNone/>
              <a:defRPr sz="1200" b="1">
                <a:solidFill>
                  <a:schemeClr val="lt2"/>
                </a:solidFill>
              </a:defRPr>
            </a:lvl5pPr>
            <a:lvl6pPr marL="2743200" lvl="5" indent="-342900" algn="l">
              <a:spcBef>
                <a:spcPts val="3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 dirty="0"/>
          </a:p>
        </p:txBody>
      </p:sp>
      <p:sp>
        <p:nvSpPr>
          <p:cNvPr id="166" name="Google Shape;166;p42"/>
          <p:cNvSpPr>
            <a:spLocks noGrp="1"/>
          </p:cNvSpPr>
          <p:nvPr>
            <p:ph type="pic" idx="3"/>
          </p:nvPr>
        </p:nvSpPr>
        <p:spPr>
          <a:xfrm>
            <a:off x="6094533" y="1621765"/>
            <a:ext cx="5207000" cy="3399332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Google Shape;40;p32">
            <a:extLst>
              <a:ext uri="{FF2B5EF4-FFF2-40B4-BE49-F238E27FC236}">
                <a16:creationId xmlns:a16="http://schemas.microsoft.com/office/drawing/2014/main" id="{F106C009-12D7-F5D9-1904-263B7D9343B7}"/>
              </a:ext>
            </a:extLst>
          </p:cNvPr>
          <p:cNvSpPr txBox="1"/>
          <p:nvPr userDrawn="1"/>
        </p:nvSpPr>
        <p:spPr>
          <a:xfrm>
            <a:off x="516835" y="6334236"/>
            <a:ext cx="3550340" cy="2974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None/>
            </a:pPr>
            <a:r>
              <a:rPr lang="ru-RU" sz="1200" b="1" i="0" u="none" strike="noStrike" cap="none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ЗоРРО</a:t>
            </a:r>
            <a:r>
              <a:rPr lang="ru-RU" sz="1200" b="1" i="0" u="none" strike="noStrike" cap="none" baseline="3000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® </a:t>
            </a:r>
            <a:r>
              <a:rPr lang="de-CH" sz="1200" b="1" i="0" u="none" strike="noStrike" cap="none" baseline="3000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200" b="1" i="0" u="none" strike="noStrike" cap="none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2024 </a:t>
            </a:r>
            <a:r>
              <a:rPr lang="en-US" sz="1200" b="0" i="0" u="none" strike="noStrike" cap="none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| Internal Use Only</a:t>
            </a:r>
            <a:endParaRPr b="0" dirty="0">
              <a:solidFill>
                <a:srgbClr val="FFFFFF"/>
              </a:solidFill>
            </a:endParaRPr>
          </a:p>
        </p:txBody>
      </p:sp>
      <p:cxnSp>
        <p:nvCxnSpPr>
          <p:cNvPr id="7" name="Google Shape;54;p32">
            <a:extLst>
              <a:ext uri="{FF2B5EF4-FFF2-40B4-BE49-F238E27FC236}">
                <a16:creationId xmlns:a16="http://schemas.microsoft.com/office/drawing/2014/main" id="{B0D34347-F8AD-D386-2B45-43FE3D996F1A}"/>
              </a:ext>
            </a:extLst>
          </p:cNvPr>
          <p:cNvCxnSpPr>
            <a:cxnSpLocks/>
          </p:cNvCxnSpPr>
          <p:nvPr userDrawn="1"/>
        </p:nvCxnSpPr>
        <p:spPr>
          <a:xfrm>
            <a:off x="3743325" y="6492239"/>
            <a:ext cx="5330337" cy="0"/>
          </a:xfrm>
          <a:prstGeom prst="straightConnector1">
            <a:avLst/>
          </a:prstGeom>
          <a:solidFill>
            <a:schemeClr val="accent2"/>
          </a:solidFill>
          <a:ln w="19050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12" name="Google Shape;112;p38">
            <a:extLst>
              <a:ext uri="{FF2B5EF4-FFF2-40B4-BE49-F238E27FC236}">
                <a16:creationId xmlns:a16="http://schemas.microsoft.com/office/drawing/2014/main" id="{F0CEFF45-9159-1233-823F-AB4A70764E1E}"/>
              </a:ext>
            </a:extLst>
          </p:cNvPr>
          <p:cNvPicPr preferRelativeResize="0"/>
          <p:nvPr userDrawn="1"/>
        </p:nvPicPr>
        <p:blipFill rotWithShape="1">
          <a:blip r:embed="rId4">
            <a:alphaModFix/>
          </a:blip>
          <a:srcRect/>
          <a:stretch/>
        </p:blipFill>
        <p:spPr>
          <a:xfrm>
            <a:off x="10566400" y="6399249"/>
            <a:ext cx="1205930" cy="165520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5" descr="A green and black logo&#10;&#10;Description automatically generated">
            <a:extLst>
              <a:ext uri="{FF2B5EF4-FFF2-40B4-BE49-F238E27FC236}">
                <a16:creationId xmlns:a16="http://schemas.microsoft.com/office/drawing/2014/main" id="{8353335A-66C7-82FB-DFCA-0E0943FED4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9845" b="10074"/>
          <a:stretch/>
        </p:blipFill>
        <p:spPr>
          <a:xfrm>
            <a:off x="9257141" y="6313457"/>
            <a:ext cx="1085546" cy="335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0435174"/>
      </p:ext>
    </p:extLst>
  </p:cSld>
  <p:clrMapOvr>
    <a:masterClrMapping/>
  </p:clrMapOvr>
  <p:transition>
    <p:wipe dir="r"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Slide" preserve="1" userDrawn="1">
  <p:cSld name="Content Slide">
    <p:bg>
      <p:bgPr>
        <a:solidFill>
          <a:srgbClr val="FFFFFF"/>
        </a:solidFill>
        <a:effectLst/>
      </p:bgPr>
    </p:bg>
    <p:spTree>
      <p:nvGrpSpPr>
        <p:cNvPr id="1" name="Shape 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0" name="Google Shape;170;p43"/>
          <p:cNvPicPr preferRelativeResize="0"/>
          <p:nvPr/>
        </p:nvPicPr>
        <p:blipFill rotWithShape="1">
          <a:blip r:embed="rId2">
            <a:alphaModFix/>
          </a:blip>
          <a:srcRect l="17176" t="7930" r="50841" b="19908"/>
          <a:stretch/>
        </p:blipFill>
        <p:spPr>
          <a:xfrm>
            <a:off x="6788204" y="1"/>
            <a:ext cx="5403796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71" name="Google Shape;171;p43"/>
          <p:cNvSpPr>
            <a:spLocks noGrp="1"/>
          </p:cNvSpPr>
          <p:nvPr>
            <p:ph type="pic" idx="2"/>
          </p:nvPr>
        </p:nvSpPr>
        <p:spPr>
          <a:xfrm>
            <a:off x="0" y="1580323"/>
            <a:ext cx="7772400" cy="4191000"/>
          </a:xfrm>
          <a:prstGeom prst="rect">
            <a:avLst/>
          </a:prstGeom>
          <a:noFill/>
          <a:ln>
            <a:noFill/>
          </a:ln>
        </p:spPr>
      </p:sp>
      <p:sp>
        <p:nvSpPr>
          <p:cNvPr id="174" name="Google Shape;174;p43"/>
          <p:cNvSpPr txBox="1">
            <a:spLocks noGrp="1"/>
          </p:cNvSpPr>
          <p:nvPr>
            <p:ph type="body" idx="1"/>
          </p:nvPr>
        </p:nvSpPr>
        <p:spPr>
          <a:xfrm>
            <a:off x="8077200" y="1580323"/>
            <a:ext cx="3276600" cy="41909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4800"/>
              <a:buNone/>
              <a:defRPr sz="4800" b="1">
                <a:solidFill>
                  <a:schemeClr val="dk1"/>
                </a:solidFill>
              </a:defRPr>
            </a:lvl1pPr>
            <a:lvl2pPr marL="914400" lvl="1" indent="-228600" algn="l">
              <a:spcBef>
                <a:spcPts val="1200"/>
              </a:spcBef>
              <a:spcAft>
                <a:spcPts val="0"/>
              </a:spcAft>
              <a:buSzPts val="4800"/>
              <a:buNone/>
              <a:defRPr sz="4800" b="1">
                <a:solidFill>
                  <a:schemeClr val="dk1"/>
                </a:solidFill>
              </a:defRPr>
            </a:lvl2pPr>
            <a:lvl3pPr marL="1371600" lvl="2" indent="-228600" algn="l">
              <a:spcBef>
                <a:spcPts val="1200"/>
              </a:spcBef>
              <a:spcAft>
                <a:spcPts val="0"/>
              </a:spcAft>
              <a:buSzPts val="4800"/>
              <a:buFont typeface="Arial"/>
              <a:buNone/>
              <a:defRPr sz="4800" b="1">
                <a:solidFill>
                  <a:schemeClr val="dk1"/>
                </a:solidFill>
              </a:defRPr>
            </a:lvl3pPr>
            <a:lvl4pPr marL="1828800" lvl="3" indent="-228600" algn="l">
              <a:spcBef>
                <a:spcPts val="1200"/>
              </a:spcBef>
              <a:spcAft>
                <a:spcPts val="0"/>
              </a:spcAft>
              <a:buSzPts val="4800"/>
              <a:buNone/>
              <a:defRPr sz="4800" b="1">
                <a:solidFill>
                  <a:schemeClr val="dk1"/>
                </a:solidFill>
              </a:defRPr>
            </a:lvl4pPr>
            <a:lvl5pPr marL="2286000" lvl="4" indent="-228600" algn="l">
              <a:spcBef>
                <a:spcPts val="1200"/>
              </a:spcBef>
              <a:spcAft>
                <a:spcPts val="0"/>
              </a:spcAft>
              <a:buSzPts val="4800"/>
              <a:buFont typeface="Arial"/>
              <a:buNone/>
              <a:defRPr sz="4800" b="1">
                <a:solidFill>
                  <a:schemeClr val="dk1"/>
                </a:solidFill>
              </a:defRPr>
            </a:lvl5pPr>
            <a:lvl6pPr marL="2743200" lvl="5" indent="-342900" algn="l"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5" name="Google Shape;175;p43"/>
          <p:cNvSpPr txBox="1"/>
          <p:nvPr/>
        </p:nvSpPr>
        <p:spPr>
          <a:xfrm>
            <a:off x="17318182" y="-3546764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 fontScale="25000" lnSpcReduction="20000"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0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76" name="Google Shape;176;p4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566400" y="6399249"/>
            <a:ext cx="1205930" cy="16552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40;p32">
            <a:extLst>
              <a:ext uri="{FF2B5EF4-FFF2-40B4-BE49-F238E27FC236}">
                <a16:creationId xmlns:a16="http://schemas.microsoft.com/office/drawing/2014/main" id="{994AE9C5-03B1-30B3-2445-396D445210CA}"/>
              </a:ext>
            </a:extLst>
          </p:cNvPr>
          <p:cNvSpPr txBox="1"/>
          <p:nvPr userDrawn="1"/>
        </p:nvSpPr>
        <p:spPr>
          <a:xfrm>
            <a:off x="516835" y="6334236"/>
            <a:ext cx="3550340" cy="2974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None/>
            </a:pPr>
            <a:r>
              <a:rPr lang="ru-RU" sz="12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ЗоРРО</a:t>
            </a:r>
            <a:r>
              <a:rPr lang="ru-RU" sz="1200" b="1" i="0" u="none" strike="noStrike" cap="none" baseline="30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® </a:t>
            </a:r>
            <a:r>
              <a:rPr lang="de-CH" sz="1200" b="1" i="0" u="none" strike="noStrike" cap="none" baseline="30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2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024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| Internal Use Only</a:t>
            </a:r>
            <a:endParaRPr b="0" dirty="0"/>
          </a:p>
        </p:txBody>
      </p:sp>
      <p:cxnSp>
        <p:nvCxnSpPr>
          <p:cNvPr id="3" name="Google Shape;54;p32">
            <a:extLst>
              <a:ext uri="{FF2B5EF4-FFF2-40B4-BE49-F238E27FC236}">
                <a16:creationId xmlns:a16="http://schemas.microsoft.com/office/drawing/2014/main" id="{8EE7DDFB-2FCB-914D-EA72-1C9013667145}"/>
              </a:ext>
            </a:extLst>
          </p:cNvPr>
          <p:cNvCxnSpPr>
            <a:cxnSpLocks/>
          </p:cNvCxnSpPr>
          <p:nvPr userDrawn="1"/>
        </p:nvCxnSpPr>
        <p:spPr>
          <a:xfrm>
            <a:off x="3743325" y="6492239"/>
            <a:ext cx="6630035" cy="0"/>
          </a:xfrm>
          <a:prstGeom prst="straightConnector1">
            <a:avLst/>
          </a:prstGeom>
          <a:solidFill>
            <a:schemeClr val="accent2"/>
          </a:solidFill>
          <a:ln w="19050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" name="Picture 2" descr="image">
            <a:extLst>
              <a:ext uri="{FF2B5EF4-FFF2-40B4-BE49-F238E27FC236}">
                <a16:creationId xmlns:a16="http://schemas.microsoft.com/office/drawing/2014/main" id="{72A514E4-7AA7-5D28-D68B-05CCD0F54AC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835" y="353055"/>
            <a:ext cx="3479588" cy="861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01320179"/>
      </p:ext>
    </p:extLst>
  </p:cSld>
  <p:clrMapOvr>
    <a:masterClrMapping/>
  </p:clrMapOvr>
  <p:transition>
    <p:wipe dir="r"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Slide" preserve="1" userDrawn="1">
  <p:cSld name="1_Content Slide">
    <p:bg>
      <p:bgPr>
        <a:solidFill>
          <a:srgbClr val="FFFFFF"/>
        </a:solidFill>
        <a:effectLst/>
      </p:bgPr>
    </p:bg>
    <p:spTree>
      <p:nvGrpSpPr>
        <p:cNvPr id="1" name="Shape 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0" name="Google Shape;170;p43"/>
          <p:cNvPicPr preferRelativeResize="0"/>
          <p:nvPr/>
        </p:nvPicPr>
        <p:blipFill rotWithShape="1">
          <a:blip r:embed="rId2">
            <a:alphaModFix/>
          </a:blip>
          <a:srcRect l="17176" t="7930" r="50841" b="19908"/>
          <a:stretch/>
        </p:blipFill>
        <p:spPr>
          <a:xfrm>
            <a:off x="6788204" y="1"/>
            <a:ext cx="5403796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75" name="Google Shape;175;p43"/>
          <p:cNvSpPr txBox="1"/>
          <p:nvPr/>
        </p:nvSpPr>
        <p:spPr>
          <a:xfrm>
            <a:off x="17318182" y="-3546764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 fontScale="25000" lnSpcReduction="20000"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0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76" name="Google Shape;176;p4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566400" y="6399249"/>
            <a:ext cx="1205930" cy="16552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86;p36">
            <a:extLst>
              <a:ext uri="{FF2B5EF4-FFF2-40B4-BE49-F238E27FC236}">
                <a16:creationId xmlns:a16="http://schemas.microsoft.com/office/drawing/2014/main" id="{1DE5EB26-2860-71FB-C04C-8076C413088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42925" y="1257677"/>
            <a:ext cx="5553075" cy="81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200">
                <a:solidFill>
                  <a:schemeClr val="accent1"/>
                </a:solidFill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" name="Google Shape;40;p32">
            <a:extLst>
              <a:ext uri="{FF2B5EF4-FFF2-40B4-BE49-F238E27FC236}">
                <a16:creationId xmlns:a16="http://schemas.microsoft.com/office/drawing/2014/main" id="{98D8C079-911E-586C-7E94-9D669BA81092}"/>
              </a:ext>
            </a:extLst>
          </p:cNvPr>
          <p:cNvSpPr txBox="1"/>
          <p:nvPr userDrawn="1"/>
        </p:nvSpPr>
        <p:spPr>
          <a:xfrm>
            <a:off x="516835" y="6334236"/>
            <a:ext cx="3550340" cy="2974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None/>
            </a:pPr>
            <a:r>
              <a:rPr lang="ru-RU" sz="12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ЗоРРО</a:t>
            </a:r>
            <a:r>
              <a:rPr lang="ru-RU" sz="1200" b="1" i="0" u="none" strike="noStrike" cap="none" baseline="30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® </a:t>
            </a:r>
            <a:r>
              <a:rPr lang="de-CH" sz="1200" b="1" i="0" u="none" strike="noStrike" cap="none" baseline="30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2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024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| Internal Use Only</a:t>
            </a:r>
            <a:endParaRPr b="0" dirty="0"/>
          </a:p>
        </p:txBody>
      </p:sp>
      <p:cxnSp>
        <p:nvCxnSpPr>
          <p:cNvPr id="5" name="Google Shape;54;p32">
            <a:extLst>
              <a:ext uri="{FF2B5EF4-FFF2-40B4-BE49-F238E27FC236}">
                <a16:creationId xmlns:a16="http://schemas.microsoft.com/office/drawing/2014/main" id="{5FE4B20B-875A-31B6-7FFC-265B09B87220}"/>
              </a:ext>
            </a:extLst>
          </p:cNvPr>
          <p:cNvCxnSpPr>
            <a:cxnSpLocks/>
          </p:cNvCxnSpPr>
          <p:nvPr userDrawn="1"/>
        </p:nvCxnSpPr>
        <p:spPr>
          <a:xfrm>
            <a:off x="3743325" y="6492239"/>
            <a:ext cx="6630035" cy="0"/>
          </a:xfrm>
          <a:prstGeom prst="straightConnector1">
            <a:avLst/>
          </a:prstGeom>
          <a:solidFill>
            <a:schemeClr val="accent2"/>
          </a:solidFill>
          <a:ln w="19050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41618F15-A1F2-5D3C-DCBD-2A389006BAC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42926" y="397563"/>
            <a:ext cx="1573333" cy="418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2416556"/>
      </p:ext>
    </p:extLst>
  </p:cSld>
  <p:clrMapOvr>
    <a:masterClrMapping/>
  </p:clrMapOvr>
  <p:transition>
    <p:wipe dir="r"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Slide" preserve="1" userDrawn="1">
  <p:cSld name="1_Content Slide">
    <p:bg>
      <p:bgPr>
        <a:solidFill>
          <a:srgbClr val="FFFFFF"/>
        </a:solidFill>
        <a:effectLst/>
      </p:bgPr>
    </p:bg>
    <p:spTree>
      <p:nvGrpSpPr>
        <p:cNvPr id="1" name="Shape 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0" name="Google Shape;170;p43"/>
          <p:cNvPicPr preferRelativeResize="0"/>
          <p:nvPr/>
        </p:nvPicPr>
        <p:blipFill rotWithShape="1">
          <a:blip r:embed="rId2">
            <a:alphaModFix/>
          </a:blip>
          <a:srcRect l="17176" t="7930" r="50841" b="19908"/>
          <a:stretch/>
        </p:blipFill>
        <p:spPr>
          <a:xfrm>
            <a:off x="6788204" y="1"/>
            <a:ext cx="5403796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75" name="Google Shape;175;p43"/>
          <p:cNvSpPr txBox="1"/>
          <p:nvPr/>
        </p:nvSpPr>
        <p:spPr>
          <a:xfrm>
            <a:off x="17318182" y="-3546764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 fontScale="25000" lnSpcReduction="20000"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0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" name="Google Shape;86;p36">
            <a:extLst>
              <a:ext uri="{FF2B5EF4-FFF2-40B4-BE49-F238E27FC236}">
                <a16:creationId xmlns:a16="http://schemas.microsoft.com/office/drawing/2014/main" id="{1DE5EB26-2860-71FB-C04C-8076C413088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42925" y="808498"/>
            <a:ext cx="5553075" cy="81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200">
                <a:solidFill>
                  <a:schemeClr val="accent1"/>
                </a:solidFill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" name="Google Shape;40;p32">
            <a:extLst>
              <a:ext uri="{FF2B5EF4-FFF2-40B4-BE49-F238E27FC236}">
                <a16:creationId xmlns:a16="http://schemas.microsoft.com/office/drawing/2014/main" id="{98D8C079-911E-586C-7E94-9D669BA81092}"/>
              </a:ext>
            </a:extLst>
          </p:cNvPr>
          <p:cNvSpPr txBox="1"/>
          <p:nvPr userDrawn="1"/>
        </p:nvSpPr>
        <p:spPr>
          <a:xfrm>
            <a:off x="516835" y="6334236"/>
            <a:ext cx="3550340" cy="2974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None/>
            </a:pPr>
            <a:r>
              <a:rPr lang="ru-RU" sz="12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ЗоРРО</a:t>
            </a:r>
            <a:r>
              <a:rPr lang="ru-RU" sz="1200" b="1" i="0" u="none" strike="noStrike" cap="none" baseline="30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® </a:t>
            </a:r>
            <a:r>
              <a:rPr lang="de-CH" sz="1200" b="1" i="0" u="none" strike="noStrike" cap="none" baseline="30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2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024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| Internal Use Only</a:t>
            </a:r>
            <a:endParaRPr b="0" dirty="0"/>
          </a:p>
        </p:txBody>
      </p:sp>
      <p:pic>
        <p:nvPicPr>
          <p:cNvPr id="4" name="Google Shape;53;p32">
            <a:extLst>
              <a:ext uri="{FF2B5EF4-FFF2-40B4-BE49-F238E27FC236}">
                <a16:creationId xmlns:a16="http://schemas.microsoft.com/office/drawing/2014/main" id="{81C6D814-02D9-BB44-2858-219E014651F1}"/>
              </a:ext>
            </a:extLst>
          </p:cNvPr>
          <p:cNvPicPr preferRelativeResize="0"/>
          <p:nvPr userDrawn="1"/>
        </p:nvPicPr>
        <p:blipFill rotWithShape="1">
          <a:blip r:embed="rId3">
            <a:alphaModFix/>
          </a:blip>
          <a:srcRect/>
          <a:stretch/>
        </p:blipFill>
        <p:spPr>
          <a:xfrm>
            <a:off x="10566400" y="6399249"/>
            <a:ext cx="1205930" cy="16552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7" name="Google Shape;54;p32">
            <a:extLst>
              <a:ext uri="{FF2B5EF4-FFF2-40B4-BE49-F238E27FC236}">
                <a16:creationId xmlns:a16="http://schemas.microsoft.com/office/drawing/2014/main" id="{E39700E6-326D-A212-B1E3-4E02B786DB1E}"/>
              </a:ext>
            </a:extLst>
          </p:cNvPr>
          <p:cNvCxnSpPr>
            <a:cxnSpLocks/>
          </p:cNvCxnSpPr>
          <p:nvPr userDrawn="1"/>
        </p:nvCxnSpPr>
        <p:spPr>
          <a:xfrm>
            <a:off x="3743325" y="6492239"/>
            <a:ext cx="5330337" cy="0"/>
          </a:xfrm>
          <a:prstGeom prst="straightConnector1">
            <a:avLst/>
          </a:prstGeom>
          <a:solidFill>
            <a:schemeClr val="accent2"/>
          </a:solidFill>
          <a:ln w="19050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" name="Picture 5" descr="A green and black logo&#10;&#10;Description automatically generated">
            <a:extLst>
              <a:ext uri="{FF2B5EF4-FFF2-40B4-BE49-F238E27FC236}">
                <a16:creationId xmlns:a16="http://schemas.microsoft.com/office/drawing/2014/main" id="{935F393A-E151-A171-A0C6-6FA1E93C5A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845" b="10074"/>
          <a:stretch/>
        </p:blipFill>
        <p:spPr>
          <a:xfrm>
            <a:off x="9257141" y="6313457"/>
            <a:ext cx="1085546" cy="335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0328391"/>
      </p:ext>
    </p:extLst>
  </p:cSld>
  <p:clrMapOvr>
    <a:masterClrMapping/>
  </p:clrMapOvr>
  <p:transition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9">
            <a:extLst>
              <a:ext uri="{FF2B5EF4-FFF2-40B4-BE49-F238E27FC236}">
                <a16:creationId xmlns:a16="http://schemas.microsoft.com/office/drawing/2014/main" id="{319B70FD-EA49-4216-90CA-75EA47B315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647690"/>
            <a:ext cx="11582414" cy="5600711"/>
          </a:xfrm>
          <a:custGeom>
            <a:avLst/>
            <a:gdLst>
              <a:gd name="connsiteX0" fmla="*/ 1393429 w 11582414"/>
              <a:gd name="connsiteY0" fmla="*/ 4201601 h 5600711"/>
              <a:gd name="connsiteX1" fmla="*/ 1393451 w 11582414"/>
              <a:gd name="connsiteY1" fmla="*/ 4201816 h 5600711"/>
              <a:gd name="connsiteX2" fmla="*/ 1254756 w 11582414"/>
              <a:gd name="connsiteY2" fmla="*/ 4208815 h 5600711"/>
              <a:gd name="connsiteX3" fmla="*/ 11 w 11582414"/>
              <a:gd name="connsiteY3" fmla="*/ 5599288 h 5600711"/>
              <a:gd name="connsiteX4" fmla="*/ 1369311 w 11582414"/>
              <a:gd name="connsiteY4" fmla="*/ 4483143 h 5600711"/>
              <a:gd name="connsiteX5" fmla="*/ 1395564 w 11582414"/>
              <a:gd name="connsiteY5" fmla="*/ 4222771 h 5600711"/>
              <a:gd name="connsiteX6" fmla="*/ 1421816 w 11582414"/>
              <a:gd name="connsiteY6" fmla="*/ 4483143 h 5600711"/>
              <a:gd name="connsiteX7" fmla="*/ 2791116 w 11582414"/>
              <a:gd name="connsiteY7" fmla="*/ 5599288 h 5600711"/>
              <a:gd name="connsiteX8" fmla="*/ 1536371 w 11582414"/>
              <a:gd name="connsiteY8" fmla="*/ 4208815 h 5600711"/>
              <a:gd name="connsiteX9" fmla="*/ 1397676 w 11582414"/>
              <a:gd name="connsiteY9" fmla="*/ 4201816 h 5600711"/>
              <a:gd name="connsiteX10" fmla="*/ 1397698 w 11582414"/>
              <a:gd name="connsiteY10" fmla="*/ 4201601 h 5600711"/>
              <a:gd name="connsiteX11" fmla="*/ 1395564 w 11582414"/>
              <a:gd name="connsiteY11" fmla="*/ 4201709 h 5600711"/>
              <a:gd name="connsiteX12" fmla="*/ 5580420 w 11582414"/>
              <a:gd name="connsiteY12" fmla="*/ 2819666 h 5600711"/>
              <a:gd name="connsiteX13" fmla="*/ 5603664 w 11582414"/>
              <a:gd name="connsiteY13" fmla="*/ 3065739 h 5600711"/>
              <a:gd name="connsiteX14" fmla="*/ 6833408 w 11582414"/>
              <a:gd name="connsiteY14" fmla="*/ 4191657 h 5600711"/>
              <a:gd name="connsiteX15" fmla="*/ 6930870 w 11582414"/>
              <a:gd name="connsiteY15" fmla="*/ 4196496 h 5600711"/>
              <a:gd name="connsiteX16" fmla="*/ 6851064 w 11582414"/>
              <a:gd name="connsiteY16" fmla="*/ 4200025 h 5600711"/>
              <a:gd name="connsiteX17" fmla="*/ 5607050 w 11582414"/>
              <a:gd name="connsiteY17" fmla="*/ 5310630 h 5600711"/>
              <a:gd name="connsiteX18" fmla="*/ 5580888 w 11582414"/>
              <a:gd name="connsiteY18" fmla="*/ 5570110 h 5600711"/>
              <a:gd name="connsiteX19" fmla="*/ 5558643 w 11582414"/>
              <a:gd name="connsiteY19" fmla="*/ 5334642 h 5600711"/>
              <a:gd name="connsiteX20" fmla="*/ 4328899 w 11582414"/>
              <a:gd name="connsiteY20" fmla="*/ 4208815 h 5600711"/>
              <a:gd name="connsiteX21" fmla="*/ 4188718 w 11582414"/>
              <a:gd name="connsiteY21" fmla="*/ 4201741 h 5600711"/>
              <a:gd name="connsiteX22" fmla="*/ 4188803 w 11582414"/>
              <a:gd name="connsiteY22" fmla="*/ 4200889 h 5600711"/>
              <a:gd name="connsiteX23" fmla="*/ 4188641 w 11582414"/>
              <a:gd name="connsiteY23" fmla="*/ 4199259 h 5600711"/>
              <a:gd name="connsiteX24" fmla="*/ 4327477 w 11582414"/>
              <a:gd name="connsiteY24" fmla="*/ 4192252 h 5600711"/>
              <a:gd name="connsiteX25" fmla="*/ 5553836 w 11582414"/>
              <a:gd name="connsiteY25" fmla="*/ 3083526 h 5600711"/>
              <a:gd name="connsiteX26" fmla="*/ 8376173 w 11582414"/>
              <a:gd name="connsiteY26" fmla="*/ 2803202 h 5600711"/>
              <a:gd name="connsiteX27" fmla="*/ 6978485 w 11582414"/>
              <a:gd name="connsiteY27" fmla="*/ 4200889 h 5600711"/>
              <a:gd name="connsiteX28" fmla="*/ 8376173 w 11582414"/>
              <a:gd name="connsiteY28" fmla="*/ 2803202 h 5600711"/>
              <a:gd name="connsiteX29" fmla="*/ 5578663 w 11582414"/>
              <a:gd name="connsiteY29" fmla="*/ 2801067 h 5600711"/>
              <a:gd name="connsiteX30" fmla="*/ 5578747 w 11582414"/>
              <a:gd name="connsiteY30" fmla="*/ 2801952 h 5600711"/>
              <a:gd name="connsiteX31" fmla="*/ 5439397 w 11582414"/>
              <a:gd name="connsiteY31" fmla="*/ 2808875 h 5600711"/>
              <a:gd name="connsiteX32" fmla="*/ 4212952 w 11582414"/>
              <a:gd name="connsiteY32" fmla="*/ 3917690 h 5600711"/>
              <a:gd name="connsiteX33" fmla="*/ 4186598 w 11582414"/>
              <a:gd name="connsiteY33" fmla="*/ 4179002 h 5600711"/>
              <a:gd name="connsiteX34" fmla="*/ 4160416 w 11582414"/>
              <a:gd name="connsiteY34" fmla="*/ 3919142 h 5600711"/>
              <a:gd name="connsiteX35" fmla="*/ 2791116 w 11582414"/>
              <a:gd name="connsiteY35" fmla="*/ 2803202 h 5600711"/>
              <a:gd name="connsiteX36" fmla="*/ 4188803 w 11582414"/>
              <a:gd name="connsiteY36" fmla="*/ 4200889 h 5600711"/>
              <a:gd name="connsiteX37" fmla="*/ 2791116 w 11582414"/>
              <a:gd name="connsiteY37" fmla="*/ 5598576 h 5600711"/>
              <a:gd name="connsiteX38" fmla="*/ 4160416 w 11582414"/>
              <a:gd name="connsiteY38" fmla="*/ 4482665 h 5600711"/>
              <a:gd name="connsiteX39" fmla="*/ 4187345 w 11582414"/>
              <a:gd name="connsiteY39" fmla="*/ 4215365 h 5600711"/>
              <a:gd name="connsiteX40" fmla="*/ 4214344 w 11582414"/>
              <a:gd name="connsiteY40" fmla="*/ 4483143 h 5600711"/>
              <a:gd name="connsiteX41" fmla="*/ 5583645 w 11582414"/>
              <a:gd name="connsiteY41" fmla="*/ 5599288 h 5600711"/>
              <a:gd name="connsiteX42" fmla="*/ 5582952 w 11582414"/>
              <a:gd name="connsiteY42" fmla="*/ 5591956 h 5600711"/>
              <a:gd name="connsiteX43" fmla="*/ 5721605 w 11582414"/>
              <a:gd name="connsiteY43" fmla="*/ 5584959 h 5600711"/>
              <a:gd name="connsiteX44" fmla="*/ 6951349 w 11582414"/>
              <a:gd name="connsiteY44" fmla="*/ 4459132 h 5600711"/>
              <a:gd name="connsiteX45" fmla="*/ 6975949 w 11582414"/>
              <a:gd name="connsiteY45" fmla="*/ 4198734 h 5600711"/>
              <a:gd name="connsiteX46" fmla="*/ 6976350 w 11582414"/>
              <a:gd name="connsiteY46" fmla="*/ 4198754 h 5600711"/>
              <a:gd name="connsiteX47" fmla="*/ 6976142 w 11582414"/>
              <a:gd name="connsiteY47" fmla="*/ 4196688 h 5600711"/>
              <a:gd name="connsiteX48" fmla="*/ 6976350 w 11582414"/>
              <a:gd name="connsiteY48" fmla="*/ 4194485 h 5600711"/>
              <a:gd name="connsiteX49" fmla="*/ 6975922 w 11582414"/>
              <a:gd name="connsiteY49" fmla="*/ 4194504 h 5600711"/>
              <a:gd name="connsiteX50" fmla="*/ 6947963 w 11582414"/>
              <a:gd name="connsiteY50" fmla="*/ 3917007 h 5600711"/>
              <a:gd name="connsiteX51" fmla="*/ 5578663 w 11582414"/>
              <a:gd name="connsiteY51" fmla="*/ 2801067 h 5600711"/>
              <a:gd name="connsiteX52" fmla="*/ 1435 w 11582414"/>
              <a:gd name="connsiteY52" fmla="*/ 2801067 h 5600711"/>
              <a:gd name="connsiteX53" fmla="*/ 1399122 w 11582414"/>
              <a:gd name="connsiteY53" fmla="*/ 4199466 h 5600711"/>
              <a:gd name="connsiteX54" fmla="*/ 1435 w 11582414"/>
              <a:gd name="connsiteY54" fmla="*/ 2801067 h 5600711"/>
              <a:gd name="connsiteX55" fmla="*/ 6979197 w 11582414"/>
              <a:gd name="connsiteY55" fmla="*/ 1401957 h 5600711"/>
              <a:gd name="connsiteX56" fmla="*/ 5609896 w 11582414"/>
              <a:gd name="connsiteY56" fmla="*/ 2517868 h 5600711"/>
              <a:gd name="connsiteX57" fmla="*/ 5583572 w 11582414"/>
              <a:gd name="connsiteY57" fmla="*/ 2779167 h 5600711"/>
              <a:gd name="connsiteX58" fmla="*/ 5557393 w 11582414"/>
              <a:gd name="connsiteY58" fmla="*/ 2519525 h 5600711"/>
              <a:gd name="connsiteX59" fmla="*/ 4188092 w 11582414"/>
              <a:gd name="connsiteY59" fmla="*/ 1403380 h 5600711"/>
              <a:gd name="connsiteX60" fmla="*/ 5585780 w 11582414"/>
              <a:gd name="connsiteY60" fmla="*/ 2801067 h 5600711"/>
              <a:gd name="connsiteX61" fmla="*/ 5585616 w 11582414"/>
              <a:gd name="connsiteY61" fmla="*/ 2799437 h 5600711"/>
              <a:gd name="connsiteX62" fmla="*/ 5724451 w 11582414"/>
              <a:gd name="connsiteY62" fmla="*/ 2792430 h 5600711"/>
              <a:gd name="connsiteX63" fmla="*/ 6979197 w 11582414"/>
              <a:gd name="connsiteY63" fmla="*/ 1401957 h 5600711"/>
              <a:gd name="connsiteX64" fmla="*/ 0 w 11582414"/>
              <a:gd name="connsiteY64" fmla="*/ 1397687 h 5600711"/>
              <a:gd name="connsiteX65" fmla="*/ 9728016 w 11582414"/>
              <a:gd name="connsiteY65" fmla="*/ 1397687 h 5600711"/>
              <a:gd name="connsiteX66" fmla="*/ 9770302 w 11582414"/>
              <a:gd name="connsiteY66" fmla="*/ 1399821 h 5600711"/>
              <a:gd name="connsiteX67" fmla="*/ 9770088 w 11582414"/>
              <a:gd name="connsiteY67" fmla="*/ 1397687 h 5600711"/>
              <a:gd name="connsiteX68" fmla="*/ 11582414 w 11582414"/>
              <a:gd name="connsiteY68" fmla="*/ 1397687 h 5600711"/>
              <a:gd name="connsiteX69" fmla="*/ 11582414 w 11582414"/>
              <a:gd name="connsiteY69" fmla="*/ 5600711 h 5600711"/>
              <a:gd name="connsiteX70" fmla="*/ 0 w 11582414"/>
              <a:gd name="connsiteY70" fmla="*/ 5600711 h 5600711"/>
              <a:gd name="connsiteX71" fmla="*/ 11163719 w 11582414"/>
              <a:gd name="connsiteY71" fmla="*/ 0 h 5600711"/>
              <a:gd name="connsiteX72" fmla="*/ 9908974 w 11582414"/>
              <a:gd name="connsiteY72" fmla="*/ 1390473 h 5600711"/>
              <a:gd name="connsiteX73" fmla="*/ 9770067 w 11582414"/>
              <a:gd name="connsiteY73" fmla="*/ 1397483 h 5600711"/>
              <a:gd name="connsiteX74" fmla="*/ 9770088 w 11582414"/>
              <a:gd name="connsiteY74" fmla="*/ 1397687 h 5600711"/>
              <a:gd name="connsiteX75" fmla="*/ 9728016 w 11582414"/>
              <a:gd name="connsiteY75" fmla="*/ 1397687 h 5600711"/>
              <a:gd name="connsiteX76" fmla="*/ 9627360 w 11582414"/>
              <a:gd name="connsiteY76" fmla="*/ 1392608 h 5600711"/>
              <a:gd name="connsiteX77" fmla="*/ 8372614 w 11582414"/>
              <a:gd name="connsiteY77" fmla="*/ 2134 h 5600711"/>
              <a:gd name="connsiteX78" fmla="*/ 9741915 w 11582414"/>
              <a:gd name="connsiteY78" fmla="*/ 1118075 h 5600711"/>
              <a:gd name="connsiteX79" fmla="*/ 9768061 w 11582414"/>
              <a:gd name="connsiteY79" fmla="*/ 1377574 h 5600711"/>
              <a:gd name="connsiteX80" fmla="*/ 9794448 w 11582414"/>
              <a:gd name="connsiteY80" fmla="*/ 1115940 h 5600711"/>
              <a:gd name="connsiteX81" fmla="*/ 11163719 w 11582414"/>
              <a:gd name="connsiteY81" fmla="*/ 0 h 56007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</a:cxnLst>
            <a:rect l="l" t="t" r="r" b="b"/>
            <a:pathLst>
              <a:path w="11582414" h="5600711">
                <a:moveTo>
                  <a:pt x="1393429" y="4201601"/>
                </a:moveTo>
                <a:lnTo>
                  <a:pt x="1393451" y="4201816"/>
                </a:lnTo>
                <a:lnTo>
                  <a:pt x="1254756" y="4208815"/>
                </a:lnTo>
                <a:cubicBezTo>
                  <a:pt x="549805" y="4280367"/>
                  <a:pt x="11" y="4875403"/>
                  <a:pt x="11" y="5599288"/>
                </a:cubicBezTo>
                <a:cubicBezTo>
                  <a:pt x="675637" y="5599288"/>
                  <a:pt x="1239022" y="5119812"/>
                  <a:pt x="1369311" y="4483143"/>
                </a:cubicBezTo>
                <a:lnTo>
                  <a:pt x="1395564" y="4222771"/>
                </a:lnTo>
                <a:lnTo>
                  <a:pt x="1421816" y="4483143"/>
                </a:lnTo>
                <a:cubicBezTo>
                  <a:pt x="1552105" y="5119812"/>
                  <a:pt x="2115490" y="5599288"/>
                  <a:pt x="2791116" y="5599288"/>
                </a:cubicBezTo>
                <a:cubicBezTo>
                  <a:pt x="2791116" y="4875403"/>
                  <a:pt x="2241322" y="4280367"/>
                  <a:pt x="1536371" y="4208815"/>
                </a:cubicBezTo>
                <a:lnTo>
                  <a:pt x="1397676" y="4201816"/>
                </a:lnTo>
                <a:lnTo>
                  <a:pt x="1397698" y="4201601"/>
                </a:lnTo>
                <a:lnTo>
                  <a:pt x="1395564" y="4201709"/>
                </a:lnTo>
                <a:close/>
                <a:moveTo>
                  <a:pt x="5580420" y="2819666"/>
                </a:moveTo>
                <a:lnTo>
                  <a:pt x="5603664" y="3065739"/>
                </a:lnTo>
                <a:cubicBezTo>
                  <a:pt x="5718536" y="3665670"/>
                  <a:pt x="6216576" y="4129495"/>
                  <a:pt x="6833408" y="4191657"/>
                </a:cubicBezTo>
                <a:lnTo>
                  <a:pt x="6930870" y="4196496"/>
                </a:lnTo>
                <a:lnTo>
                  <a:pt x="6851064" y="4200025"/>
                </a:lnTo>
                <a:cubicBezTo>
                  <a:pt x="6231993" y="4255034"/>
                  <a:pt x="5729197" y="4713754"/>
                  <a:pt x="5607050" y="5310630"/>
                </a:cubicBezTo>
                <a:lnTo>
                  <a:pt x="5580888" y="5570110"/>
                </a:lnTo>
                <a:lnTo>
                  <a:pt x="5558643" y="5334642"/>
                </a:lnTo>
                <a:cubicBezTo>
                  <a:pt x="5443772" y="4734824"/>
                  <a:pt x="4945733" y="4271423"/>
                  <a:pt x="4328899" y="4208815"/>
                </a:cubicBezTo>
                <a:lnTo>
                  <a:pt x="4188718" y="4201741"/>
                </a:lnTo>
                <a:lnTo>
                  <a:pt x="4188803" y="4200889"/>
                </a:lnTo>
                <a:lnTo>
                  <a:pt x="4188641" y="4199259"/>
                </a:lnTo>
                <a:lnTo>
                  <a:pt x="4327477" y="4192252"/>
                </a:lnTo>
                <a:cubicBezTo>
                  <a:pt x="4938434" y="4130241"/>
                  <a:pt x="5432852" y="3675034"/>
                  <a:pt x="5553836" y="3083526"/>
                </a:cubicBezTo>
                <a:close/>
                <a:moveTo>
                  <a:pt x="8376173" y="2803202"/>
                </a:moveTo>
                <a:cubicBezTo>
                  <a:pt x="7604029" y="2803202"/>
                  <a:pt x="6978485" y="3428745"/>
                  <a:pt x="6978485" y="4200889"/>
                </a:cubicBezTo>
                <a:cubicBezTo>
                  <a:pt x="7749918" y="4200889"/>
                  <a:pt x="8376173" y="3574634"/>
                  <a:pt x="8376173" y="2803202"/>
                </a:cubicBezTo>
                <a:close/>
                <a:moveTo>
                  <a:pt x="5578663" y="2801067"/>
                </a:moveTo>
                <a:lnTo>
                  <a:pt x="5578747" y="2801952"/>
                </a:lnTo>
                <a:lnTo>
                  <a:pt x="5439397" y="2808875"/>
                </a:lnTo>
                <a:cubicBezTo>
                  <a:pt x="4828880" y="2870446"/>
                  <a:pt x="4334051" y="3326064"/>
                  <a:pt x="4212952" y="3917690"/>
                </a:cubicBezTo>
                <a:lnTo>
                  <a:pt x="4186598" y="4179002"/>
                </a:lnTo>
                <a:lnTo>
                  <a:pt x="4160416" y="3919142"/>
                </a:lnTo>
                <a:cubicBezTo>
                  <a:pt x="4030126" y="3282133"/>
                  <a:pt x="3466742" y="2803202"/>
                  <a:pt x="2791116" y="2803202"/>
                </a:cubicBezTo>
                <a:cubicBezTo>
                  <a:pt x="2791116" y="3575346"/>
                  <a:pt x="3416659" y="4200889"/>
                  <a:pt x="4188803" y="4200889"/>
                </a:cubicBezTo>
                <a:cubicBezTo>
                  <a:pt x="3416659" y="4200889"/>
                  <a:pt x="2791116" y="4826433"/>
                  <a:pt x="2791116" y="5598576"/>
                </a:cubicBezTo>
                <a:cubicBezTo>
                  <a:pt x="3466742" y="5599199"/>
                  <a:pt x="4030126" y="5119801"/>
                  <a:pt x="4160416" y="4482665"/>
                </a:cubicBezTo>
                <a:lnTo>
                  <a:pt x="4187345" y="4215365"/>
                </a:lnTo>
                <a:lnTo>
                  <a:pt x="4214344" y="4483143"/>
                </a:lnTo>
                <a:cubicBezTo>
                  <a:pt x="4344634" y="5119812"/>
                  <a:pt x="4908018" y="5599288"/>
                  <a:pt x="5583645" y="5599288"/>
                </a:cubicBezTo>
                <a:lnTo>
                  <a:pt x="5582952" y="5591956"/>
                </a:lnTo>
                <a:lnTo>
                  <a:pt x="5721605" y="5584959"/>
                </a:lnTo>
                <a:cubicBezTo>
                  <a:pt x="6338438" y="5522351"/>
                  <a:pt x="6836478" y="5058950"/>
                  <a:pt x="6951349" y="4459132"/>
                </a:cubicBezTo>
                <a:lnTo>
                  <a:pt x="6975949" y="4198734"/>
                </a:lnTo>
                <a:lnTo>
                  <a:pt x="6976350" y="4198754"/>
                </a:lnTo>
                <a:lnTo>
                  <a:pt x="6976142" y="4196688"/>
                </a:lnTo>
                <a:lnTo>
                  <a:pt x="6976350" y="4194485"/>
                </a:lnTo>
                <a:lnTo>
                  <a:pt x="6975922" y="4194504"/>
                </a:lnTo>
                <a:lnTo>
                  <a:pt x="6947963" y="3917007"/>
                </a:lnTo>
                <a:cubicBezTo>
                  <a:pt x="6817674" y="3279998"/>
                  <a:pt x="6254289" y="2801067"/>
                  <a:pt x="5578663" y="2801067"/>
                </a:cubicBezTo>
                <a:close/>
                <a:moveTo>
                  <a:pt x="1435" y="2801067"/>
                </a:moveTo>
                <a:cubicBezTo>
                  <a:pt x="1435" y="3573211"/>
                  <a:pt x="626978" y="4199466"/>
                  <a:pt x="1399122" y="4199466"/>
                </a:cubicBezTo>
                <a:cubicBezTo>
                  <a:pt x="1399122" y="3427322"/>
                  <a:pt x="773579" y="2801067"/>
                  <a:pt x="1435" y="2801067"/>
                </a:cubicBezTo>
                <a:close/>
                <a:moveTo>
                  <a:pt x="6979197" y="1401957"/>
                </a:moveTo>
                <a:cubicBezTo>
                  <a:pt x="6303571" y="1401334"/>
                  <a:pt x="5740187" y="1880733"/>
                  <a:pt x="5609896" y="2517868"/>
                </a:cubicBezTo>
                <a:lnTo>
                  <a:pt x="5583572" y="2779167"/>
                </a:lnTo>
                <a:lnTo>
                  <a:pt x="5557393" y="2519525"/>
                </a:lnTo>
                <a:cubicBezTo>
                  <a:pt x="5427104" y="1882856"/>
                  <a:pt x="4863718" y="1403380"/>
                  <a:pt x="4188092" y="1403380"/>
                </a:cubicBezTo>
                <a:cubicBezTo>
                  <a:pt x="4188092" y="2175524"/>
                  <a:pt x="4813636" y="2801067"/>
                  <a:pt x="5585780" y="2801067"/>
                </a:cubicBezTo>
                <a:lnTo>
                  <a:pt x="5585616" y="2799437"/>
                </a:lnTo>
                <a:lnTo>
                  <a:pt x="5724451" y="2792430"/>
                </a:lnTo>
                <a:cubicBezTo>
                  <a:pt x="6429403" y="2720878"/>
                  <a:pt x="6979197" y="2125842"/>
                  <a:pt x="6979197" y="1401957"/>
                </a:cubicBezTo>
                <a:close/>
                <a:moveTo>
                  <a:pt x="0" y="1397687"/>
                </a:moveTo>
                <a:lnTo>
                  <a:pt x="9728016" y="1397687"/>
                </a:lnTo>
                <a:lnTo>
                  <a:pt x="9770302" y="1399821"/>
                </a:lnTo>
                <a:lnTo>
                  <a:pt x="9770088" y="1397687"/>
                </a:lnTo>
                <a:lnTo>
                  <a:pt x="11582414" y="1397687"/>
                </a:lnTo>
                <a:lnTo>
                  <a:pt x="11582414" y="5600711"/>
                </a:lnTo>
                <a:lnTo>
                  <a:pt x="0" y="5600711"/>
                </a:lnTo>
                <a:close/>
                <a:moveTo>
                  <a:pt x="11163719" y="0"/>
                </a:moveTo>
                <a:cubicBezTo>
                  <a:pt x="11163719" y="723885"/>
                  <a:pt x="10613925" y="1318922"/>
                  <a:pt x="9908974" y="1390473"/>
                </a:cubicBezTo>
                <a:lnTo>
                  <a:pt x="9770067" y="1397483"/>
                </a:lnTo>
                <a:lnTo>
                  <a:pt x="9770088" y="1397687"/>
                </a:lnTo>
                <a:lnTo>
                  <a:pt x="9728016" y="1397687"/>
                </a:lnTo>
                <a:lnTo>
                  <a:pt x="9627360" y="1392608"/>
                </a:lnTo>
                <a:cubicBezTo>
                  <a:pt x="8922409" y="1321056"/>
                  <a:pt x="8372614" y="726019"/>
                  <a:pt x="8372614" y="2134"/>
                </a:cubicBezTo>
                <a:cubicBezTo>
                  <a:pt x="9048240" y="2134"/>
                  <a:pt x="9611626" y="481065"/>
                  <a:pt x="9741915" y="1118075"/>
                </a:cubicBezTo>
                <a:lnTo>
                  <a:pt x="9768061" y="1377574"/>
                </a:lnTo>
                <a:lnTo>
                  <a:pt x="9794448" y="1115940"/>
                </a:lnTo>
                <a:cubicBezTo>
                  <a:pt x="9924864" y="478931"/>
                  <a:pt x="10488716" y="0"/>
                  <a:pt x="11163719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700E89-D689-4792-A94E-04F99C169D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04801"/>
            <a:ext cx="7894655" cy="649792"/>
          </a:xfrm>
        </p:spPr>
        <p:txBody>
          <a:bodyPr/>
          <a:lstStyle>
            <a:lvl1pPr>
              <a:defRPr sz="2200"/>
            </a:lvl1pPr>
          </a:lstStyle>
          <a:p>
            <a:r>
              <a:rPr lang="en-US"/>
              <a:t>Divider tit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B4E800A-3EE4-4A15-B6BE-8F8F2C7BF5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GB"/>
              <a:t>CLASSIFICATION: Internal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FA48C5-65BF-4BE7-AFA0-63CEC7DD16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9C47F3-E74D-462A-9E9A-E7164C68AF7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0485801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Slide B" preserve="1">
  <p:cSld name="Content Slide B">
    <p:bg>
      <p:bgPr>
        <a:solidFill>
          <a:srgbClr val="FFFFFF"/>
        </a:solidFill>
        <a:effectLst/>
      </p:bgPr>
    </p:bg>
    <p:spTree>
      <p:nvGrpSpPr>
        <p:cNvPr id="1" name="Shape 1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" name="Google Shape;178;p44"/>
          <p:cNvSpPr>
            <a:spLocks noGrp="1"/>
          </p:cNvSpPr>
          <p:nvPr>
            <p:ph type="pic" idx="2"/>
          </p:nvPr>
        </p:nvSpPr>
        <p:spPr>
          <a:xfrm>
            <a:off x="4054475" y="1579563"/>
            <a:ext cx="8137525" cy="4191000"/>
          </a:xfrm>
          <a:prstGeom prst="rect">
            <a:avLst/>
          </a:prstGeom>
          <a:noFill/>
          <a:ln>
            <a:noFill/>
          </a:ln>
        </p:spPr>
      </p:sp>
      <p:sp>
        <p:nvSpPr>
          <p:cNvPr id="181" name="Google Shape;181;p44"/>
          <p:cNvSpPr txBox="1">
            <a:spLocks noGrp="1"/>
          </p:cNvSpPr>
          <p:nvPr>
            <p:ph type="title"/>
          </p:nvPr>
        </p:nvSpPr>
        <p:spPr>
          <a:xfrm>
            <a:off x="542927" y="2413268"/>
            <a:ext cx="3267074" cy="13893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800">
                <a:solidFill>
                  <a:schemeClr val="dk1"/>
                </a:solidFill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2" name="Google Shape;182;p44"/>
          <p:cNvSpPr/>
          <p:nvPr/>
        </p:nvSpPr>
        <p:spPr>
          <a:xfrm>
            <a:off x="542925" y="3942117"/>
            <a:ext cx="448118" cy="7250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3" name="Google Shape;183;p44"/>
          <p:cNvSpPr txBox="1">
            <a:spLocks noGrp="1"/>
          </p:cNvSpPr>
          <p:nvPr>
            <p:ph type="body" idx="1"/>
          </p:nvPr>
        </p:nvSpPr>
        <p:spPr>
          <a:xfrm>
            <a:off x="542926" y="4154086"/>
            <a:ext cx="3267074" cy="2904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spcBef>
                <a:spcPts val="30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2pPr>
            <a:lvl3pPr marL="1371600" lvl="2" indent="-228600" algn="l">
              <a:spcBef>
                <a:spcPts val="300"/>
              </a:spcBef>
              <a:spcAft>
                <a:spcPts val="0"/>
              </a:spcAft>
              <a:buSzPts val="1200"/>
              <a:buFont typeface="Arial"/>
              <a:buNone/>
              <a:defRPr sz="1200" b="0">
                <a:solidFill>
                  <a:schemeClr val="dk1"/>
                </a:solidFill>
              </a:defRPr>
            </a:lvl3pPr>
            <a:lvl4pPr marL="1828800" lvl="3" indent="-228600" algn="l">
              <a:spcBef>
                <a:spcPts val="30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4pPr>
            <a:lvl5pPr marL="2286000" lvl="4" indent="-228600" algn="l">
              <a:spcBef>
                <a:spcPts val="300"/>
              </a:spcBef>
              <a:spcAft>
                <a:spcPts val="0"/>
              </a:spcAft>
              <a:buSzPts val="1200"/>
              <a:buFont typeface="Arial"/>
              <a:buNone/>
              <a:defRPr sz="1200" b="0">
                <a:solidFill>
                  <a:schemeClr val="dk1"/>
                </a:solidFill>
              </a:defRPr>
            </a:lvl5pPr>
            <a:lvl6pPr marL="2743200" lvl="5" indent="-342900" algn="l">
              <a:spcBef>
                <a:spcPts val="3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" name="Google Shape;40;p32">
            <a:extLst>
              <a:ext uri="{FF2B5EF4-FFF2-40B4-BE49-F238E27FC236}">
                <a16:creationId xmlns:a16="http://schemas.microsoft.com/office/drawing/2014/main" id="{60AED5F3-DDAB-9EC5-70FA-8B204342329D}"/>
              </a:ext>
            </a:extLst>
          </p:cNvPr>
          <p:cNvSpPr txBox="1"/>
          <p:nvPr userDrawn="1"/>
        </p:nvSpPr>
        <p:spPr>
          <a:xfrm>
            <a:off x="516835" y="6334236"/>
            <a:ext cx="3550340" cy="2974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None/>
            </a:pPr>
            <a:r>
              <a:rPr lang="ru-RU" sz="12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ЗоРРО</a:t>
            </a:r>
            <a:r>
              <a:rPr lang="ru-RU" sz="1200" b="1" i="0" u="none" strike="noStrike" cap="none" baseline="30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® </a:t>
            </a:r>
            <a:r>
              <a:rPr lang="de-CH" sz="1200" b="1" i="0" u="none" strike="noStrike" cap="none" baseline="30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2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024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| Internal Use Only</a:t>
            </a:r>
            <a:endParaRPr b="0" dirty="0"/>
          </a:p>
        </p:txBody>
      </p:sp>
      <p:pic>
        <p:nvPicPr>
          <p:cNvPr id="3" name="Google Shape;53;p32">
            <a:extLst>
              <a:ext uri="{FF2B5EF4-FFF2-40B4-BE49-F238E27FC236}">
                <a16:creationId xmlns:a16="http://schemas.microsoft.com/office/drawing/2014/main" id="{39B7435A-80B5-2D95-4CF7-283B4610B3F1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0566400" y="6399249"/>
            <a:ext cx="1205930" cy="16552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4" name="Google Shape;54;p32">
            <a:extLst>
              <a:ext uri="{FF2B5EF4-FFF2-40B4-BE49-F238E27FC236}">
                <a16:creationId xmlns:a16="http://schemas.microsoft.com/office/drawing/2014/main" id="{7E80D403-2AE4-3EC4-B37C-0E9E46B6F79E}"/>
              </a:ext>
            </a:extLst>
          </p:cNvPr>
          <p:cNvCxnSpPr>
            <a:cxnSpLocks/>
          </p:cNvCxnSpPr>
          <p:nvPr userDrawn="1"/>
        </p:nvCxnSpPr>
        <p:spPr>
          <a:xfrm>
            <a:off x="3743325" y="6492239"/>
            <a:ext cx="6630035" cy="0"/>
          </a:xfrm>
          <a:prstGeom prst="straightConnector1">
            <a:avLst/>
          </a:prstGeom>
          <a:solidFill>
            <a:schemeClr val="accent2"/>
          </a:solidFill>
          <a:ln w="19050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FC9C3534-9995-46FF-1717-1F94D9BCFDE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16835" y="504903"/>
            <a:ext cx="2380848" cy="633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8820748"/>
      </p:ext>
    </p:extLst>
  </p:cSld>
  <p:clrMapOvr>
    <a:masterClrMapping/>
  </p:clrMapOvr>
  <p:transition>
    <p:wipe dir="r"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Slide B" preserve="1" userDrawn="1">
  <p:cSld name="1_Content Slide B">
    <p:bg>
      <p:bgPr>
        <a:solidFill>
          <a:srgbClr val="FFFFFF"/>
        </a:solidFill>
        <a:effectLst/>
      </p:bgPr>
    </p:bg>
    <p:spTree>
      <p:nvGrpSpPr>
        <p:cNvPr id="1" name="Shape 1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" name="Google Shape;178;p44"/>
          <p:cNvSpPr>
            <a:spLocks noGrp="1"/>
          </p:cNvSpPr>
          <p:nvPr>
            <p:ph type="pic" idx="2"/>
          </p:nvPr>
        </p:nvSpPr>
        <p:spPr>
          <a:xfrm>
            <a:off x="4054475" y="1579563"/>
            <a:ext cx="8137525" cy="4191000"/>
          </a:xfrm>
          <a:prstGeom prst="rect">
            <a:avLst/>
          </a:prstGeom>
          <a:noFill/>
          <a:ln>
            <a:noFill/>
          </a:ln>
        </p:spPr>
      </p:sp>
      <p:sp>
        <p:nvSpPr>
          <p:cNvPr id="183" name="Google Shape;183;p44"/>
          <p:cNvSpPr txBox="1">
            <a:spLocks noGrp="1"/>
          </p:cNvSpPr>
          <p:nvPr>
            <p:ph type="body" idx="1"/>
          </p:nvPr>
        </p:nvSpPr>
        <p:spPr>
          <a:xfrm>
            <a:off x="542926" y="3769112"/>
            <a:ext cx="3267074" cy="2001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spcBef>
                <a:spcPts val="30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2pPr>
            <a:lvl3pPr marL="1371600" lvl="2" indent="-228600" algn="l">
              <a:spcBef>
                <a:spcPts val="300"/>
              </a:spcBef>
              <a:spcAft>
                <a:spcPts val="0"/>
              </a:spcAft>
              <a:buSzPts val="1200"/>
              <a:buFont typeface="Arial"/>
              <a:buNone/>
              <a:defRPr sz="1200" b="0">
                <a:solidFill>
                  <a:schemeClr val="dk1"/>
                </a:solidFill>
              </a:defRPr>
            </a:lvl3pPr>
            <a:lvl4pPr marL="1828800" lvl="3" indent="-228600" algn="l">
              <a:spcBef>
                <a:spcPts val="30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4pPr>
            <a:lvl5pPr marL="2286000" lvl="4" indent="-228600" algn="l">
              <a:spcBef>
                <a:spcPts val="300"/>
              </a:spcBef>
              <a:spcAft>
                <a:spcPts val="0"/>
              </a:spcAft>
              <a:buSzPts val="1200"/>
              <a:buFont typeface="Arial"/>
              <a:buNone/>
              <a:defRPr sz="1200" b="0">
                <a:solidFill>
                  <a:schemeClr val="dk1"/>
                </a:solidFill>
              </a:defRPr>
            </a:lvl5pPr>
            <a:lvl6pPr marL="2743200" lvl="5" indent="-342900" algn="l">
              <a:spcBef>
                <a:spcPts val="3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" name="Google Shape;40;p32">
            <a:extLst>
              <a:ext uri="{FF2B5EF4-FFF2-40B4-BE49-F238E27FC236}">
                <a16:creationId xmlns:a16="http://schemas.microsoft.com/office/drawing/2014/main" id="{60AED5F3-DDAB-9EC5-70FA-8B204342329D}"/>
              </a:ext>
            </a:extLst>
          </p:cNvPr>
          <p:cNvSpPr txBox="1"/>
          <p:nvPr userDrawn="1"/>
        </p:nvSpPr>
        <p:spPr>
          <a:xfrm>
            <a:off x="516835" y="6334236"/>
            <a:ext cx="3550340" cy="2974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None/>
            </a:pPr>
            <a:r>
              <a:rPr lang="ru-RU" sz="12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ЗоРРО</a:t>
            </a:r>
            <a:r>
              <a:rPr lang="ru-RU" sz="1200" b="1" i="0" u="none" strike="noStrike" cap="none" baseline="30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® </a:t>
            </a:r>
            <a:r>
              <a:rPr lang="de-CH" sz="1200" b="1" i="0" u="none" strike="noStrike" cap="none" baseline="30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2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024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| Internal Use Only</a:t>
            </a:r>
            <a:endParaRPr b="0" dirty="0"/>
          </a:p>
        </p:txBody>
      </p:sp>
      <p:pic>
        <p:nvPicPr>
          <p:cNvPr id="3" name="Google Shape;53;p32">
            <a:extLst>
              <a:ext uri="{FF2B5EF4-FFF2-40B4-BE49-F238E27FC236}">
                <a16:creationId xmlns:a16="http://schemas.microsoft.com/office/drawing/2014/main" id="{39B7435A-80B5-2D95-4CF7-283B4610B3F1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0566400" y="6399249"/>
            <a:ext cx="1205930" cy="16552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4" name="Google Shape;54;p32">
            <a:extLst>
              <a:ext uri="{FF2B5EF4-FFF2-40B4-BE49-F238E27FC236}">
                <a16:creationId xmlns:a16="http://schemas.microsoft.com/office/drawing/2014/main" id="{7E80D403-2AE4-3EC4-B37C-0E9E46B6F79E}"/>
              </a:ext>
            </a:extLst>
          </p:cNvPr>
          <p:cNvCxnSpPr>
            <a:cxnSpLocks/>
          </p:cNvCxnSpPr>
          <p:nvPr userDrawn="1"/>
        </p:nvCxnSpPr>
        <p:spPr>
          <a:xfrm>
            <a:off x="3743325" y="6492239"/>
            <a:ext cx="6630035" cy="0"/>
          </a:xfrm>
          <a:prstGeom prst="straightConnector1">
            <a:avLst/>
          </a:prstGeom>
          <a:solidFill>
            <a:schemeClr val="accent2"/>
          </a:solidFill>
          <a:ln w="19050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E72F3823-9C8C-917D-9577-58C852DE433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16835" y="504903"/>
            <a:ext cx="2380848" cy="633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441801"/>
      </p:ext>
    </p:extLst>
  </p:cSld>
  <p:clrMapOvr>
    <a:masterClrMapping/>
  </p:clrMapOvr>
  <p:transition>
    <p:wipe dir="r"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Header + Title + Content + Iphone (clear)" preserve="1">
  <p:cSld name="1_Header + Title + Content + Iphone (clear)"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Google Shape;186;p45"/>
          <p:cNvSpPr/>
          <p:nvPr/>
        </p:nvSpPr>
        <p:spPr>
          <a:xfrm>
            <a:off x="0" y="0"/>
            <a:ext cx="11132288" cy="5869172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0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7" name="Google Shape;187;p45"/>
          <p:cNvSpPr/>
          <p:nvPr/>
        </p:nvSpPr>
        <p:spPr>
          <a:xfrm>
            <a:off x="9607311" y="1105435"/>
            <a:ext cx="2101032" cy="4341208"/>
          </a:xfrm>
          <a:prstGeom prst="roundRect">
            <a:avLst>
              <a:gd name="adj" fmla="val 6733"/>
            </a:avLst>
          </a:prstGeom>
          <a:solidFill>
            <a:schemeClr val="dk1"/>
          </a:solidFill>
          <a:ln w="9525" cap="flat" cmpd="sng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8" name="Google Shape;188;p45"/>
          <p:cNvSpPr txBox="1">
            <a:spLocks noGrp="1"/>
          </p:cNvSpPr>
          <p:nvPr>
            <p:ph type="title"/>
          </p:nvPr>
        </p:nvSpPr>
        <p:spPr>
          <a:xfrm>
            <a:off x="542926" y="1244600"/>
            <a:ext cx="5553074" cy="81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accent1"/>
                </a:solidFill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9" name="Google Shape;189;p45"/>
          <p:cNvSpPr txBox="1">
            <a:spLocks noGrp="1"/>
          </p:cNvSpPr>
          <p:nvPr>
            <p:ph type="sldNum" idx="12"/>
          </p:nvPr>
        </p:nvSpPr>
        <p:spPr>
          <a:xfrm>
            <a:off x="10512506" y="375991"/>
            <a:ext cx="1259824" cy="20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90" name="Google Shape;190;p45"/>
          <p:cNvSpPr txBox="1">
            <a:spLocks noGrp="1"/>
          </p:cNvSpPr>
          <p:nvPr>
            <p:ph type="body" idx="1"/>
          </p:nvPr>
        </p:nvSpPr>
        <p:spPr>
          <a:xfrm>
            <a:off x="542925" y="2215403"/>
            <a:ext cx="5553075" cy="27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marL="914400" lvl="1" indent="-228600" algn="l">
              <a:spcBef>
                <a:spcPts val="35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spcBef>
                <a:spcPts val="300"/>
              </a:spcBef>
              <a:spcAft>
                <a:spcPts val="0"/>
              </a:spcAft>
              <a:buSzPts val="1000"/>
              <a:buFont typeface="Arial"/>
              <a:buNone/>
              <a:defRPr sz="1000"/>
            </a:lvl3pPr>
            <a:lvl4pPr marL="1828800" lvl="3" indent="-228600" algn="l">
              <a:spcBef>
                <a:spcPts val="250"/>
              </a:spcBef>
              <a:spcAft>
                <a:spcPts val="0"/>
              </a:spcAft>
              <a:buSzPts val="1000"/>
              <a:buNone/>
              <a:defRPr sz="1000"/>
            </a:lvl4pPr>
            <a:lvl5pPr marL="2286000" lvl="4" indent="-228600" algn="l">
              <a:spcBef>
                <a:spcPts val="250"/>
              </a:spcBef>
              <a:spcAft>
                <a:spcPts val="0"/>
              </a:spcAft>
              <a:buSzPts val="1000"/>
              <a:buFont typeface="Arial"/>
              <a:buNone/>
              <a:defRPr sz="1000"/>
            </a:lvl5pPr>
            <a:lvl6pPr marL="2743200" lvl="5" indent="-342900" algn="l">
              <a:spcBef>
                <a:spcPts val="25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3" name="Google Shape;193;p45"/>
          <p:cNvSpPr txBox="1">
            <a:spLocks noGrp="1"/>
          </p:cNvSpPr>
          <p:nvPr>
            <p:ph type="body" idx="2"/>
          </p:nvPr>
        </p:nvSpPr>
        <p:spPr>
          <a:xfrm>
            <a:off x="542926" y="914400"/>
            <a:ext cx="5560895" cy="22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spcBef>
                <a:spcPts val="30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2pPr>
            <a:lvl3pPr marL="1371600" lvl="2" indent="-228600" algn="l">
              <a:spcBef>
                <a:spcPts val="300"/>
              </a:spcBef>
              <a:spcAft>
                <a:spcPts val="0"/>
              </a:spcAft>
              <a:buSzPts val="1200"/>
              <a:buFont typeface="Arial"/>
              <a:buNone/>
              <a:defRPr sz="1200" b="0">
                <a:solidFill>
                  <a:schemeClr val="dk1"/>
                </a:solidFill>
              </a:defRPr>
            </a:lvl3pPr>
            <a:lvl4pPr marL="1828800" lvl="3" indent="-228600" algn="l">
              <a:spcBef>
                <a:spcPts val="30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4pPr>
            <a:lvl5pPr marL="2286000" lvl="4" indent="-228600" algn="l">
              <a:spcBef>
                <a:spcPts val="300"/>
              </a:spcBef>
              <a:spcAft>
                <a:spcPts val="0"/>
              </a:spcAft>
              <a:buSzPts val="1200"/>
              <a:buFont typeface="Arial"/>
              <a:buNone/>
              <a:defRPr sz="1200" b="0">
                <a:solidFill>
                  <a:schemeClr val="dk1"/>
                </a:solidFill>
              </a:defRPr>
            </a:lvl5pPr>
            <a:lvl6pPr marL="2743200" lvl="5" indent="-342900" algn="l">
              <a:spcBef>
                <a:spcPts val="3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94" name="Google Shape;194;p4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486685" y="988828"/>
            <a:ext cx="2298897" cy="4581939"/>
          </a:xfrm>
          <a:prstGeom prst="rect">
            <a:avLst/>
          </a:prstGeom>
          <a:noFill/>
          <a:ln>
            <a:noFill/>
          </a:ln>
        </p:spPr>
      </p:pic>
      <p:sp>
        <p:nvSpPr>
          <p:cNvPr id="195" name="Google Shape;195;p45"/>
          <p:cNvSpPr>
            <a:spLocks noGrp="1"/>
          </p:cNvSpPr>
          <p:nvPr>
            <p:ph type="pic" idx="3"/>
          </p:nvPr>
        </p:nvSpPr>
        <p:spPr>
          <a:xfrm>
            <a:off x="9655821" y="2052546"/>
            <a:ext cx="1960623" cy="2362200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</p:sp>
      <p:pic>
        <p:nvPicPr>
          <p:cNvPr id="196" name="Google Shape;196;p45"/>
          <p:cNvPicPr preferRelativeResize="0"/>
          <p:nvPr/>
        </p:nvPicPr>
        <p:blipFill rotWithShape="1">
          <a:blip r:embed="rId3">
            <a:alphaModFix/>
          </a:blip>
          <a:srcRect l="24974" r="22126" b="93309"/>
          <a:stretch/>
        </p:blipFill>
        <p:spPr>
          <a:xfrm>
            <a:off x="10044242" y="988828"/>
            <a:ext cx="1216106" cy="306572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40;p32">
            <a:extLst>
              <a:ext uri="{FF2B5EF4-FFF2-40B4-BE49-F238E27FC236}">
                <a16:creationId xmlns:a16="http://schemas.microsoft.com/office/drawing/2014/main" id="{DE84C43C-3773-1ACB-929D-EC81C2EAED06}"/>
              </a:ext>
            </a:extLst>
          </p:cNvPr>
          <p:cNvSpPr txBox="1"/>
          <p:nvPr userDrawn="1"/>
        </p:nvSpPr>
        <p:spPr>
          <a:xfrm>
            <a:off x="516835" y="6334236"/>
            <a:ext cx="3550340" cy="2974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None/>
            </a:pPr>
            <a:r>
              <a:rPr lang="ru-RU" sz="12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ЗоРРО</a:t>
            </a:r>
            <a:r>
              <a:rPr lang="ru-RU" sz="1200" b="1" i="0" u="none" strike="noStrike" cap="none" baseline="30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® </a:t>
            </a:r>
            <a:r>
              <a:rPr lang="de-CH" sz="1200" b="1" i="0" u="none" strike="noStrike" cap="none" baseline="30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2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024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| Internal Use Only</a:t>
            </a:r>
            <a:endParaRPr b="0" dirty="0"/>
          </a:p>
        </p:txBody>
      </p:sp>
      <p:pic>
        <p:nvPicPr>
          <p:cNvPr id="3" name="Google Shape;53;p32">
            <a:extLst>
              <a:ext uri="{FF2B5EF4-FFF2-40B4-BE49-F238E27FC236}">
                <a16:creationId xmlns:a16="http://schemas.microsoft.com/office/drawing/2014/main" id="{689174D4-914A-EBD1-F633-37EA8EA93E61}"/>
              </a:ext>
            </a:extLst>
          </p:cNvPr>
          <p:cNvPicPr preferRelativeResize="0"/>
          <p:nvPr userDrawn="1"/>
        </p:nvPicPr>
        <p:blipFill rotWithShape="1">
          <a:blip r:embed="rId4">
            <a:alphaModFix/>
          </a:blip>
          <a:srcRect/>
          <a:stretch/>
        </p:blipFill>
        <p:spPr>
          <a:xfrm>
            <a:off x="10566400" y="6399249"/>
            <a:ext cx="1205930" cy="16552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4" name="Google Shape;54;p32">
            <a:extLst>
              <a:ext uri="{FF2B5EF4-FFF2-40B4-BE49-F238E27FC236}">
                <a16:creationId xmlns:a16="http://schemas.microsoft.com/office/drawing/2014/main" id="{6ED8863E-EBA2-1E37-CED2-81C1E9521C8F}"/>
              </a:ext>
            </a:extLst>
          </p:cNvPr>
          <p:cNvCxnSpPr>
            <a:cxnSpLocks/>
          </p:cNvCxnSpPr>
          <p:nvPr userDrawn="1"/>
        </p:nvCxnSpPr>
        <p:spPr>
          <a:xfrm>
            <a:off x="3743325" y="6492239"/>
            <a:ext cx="6630035" cy="0"/>
          </a:xfrm>
          <a:prstGeom prst="straightConnector1">
            <a:avLst/>
          </a:prstGeom>
          <a:solidFill>
            <a:schemeClr val="accent2"/>
          </a:solidFill>
          <a:ln w="19050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D50F9480-9876-66B2-A72C-4516893C9BA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42926" y="397563"/>
            <a:ext cx="1573333" cy="418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458144"/>
      </p:ext>
    </p:extLst>
  </p:cSld>
  <p:clrMapOvr>
    <a:masterClrMapping/>
  </p:clrMapOvr>
  <p:transition>
    <p:wipe dir="r"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Content + half white" preserve="1">
  <p:cSld name="Title + Content + half white">
    <p:bg>
      <p:bgPr>
        <a:solidFill>
          <a:schemeClr val="dk2"/>
        </a:solidFill>
        <a:effectLst/>
      </p:bgPr>
    </p:bg>
    <p:spTree>
      <p:nvGrpSpPr>
        <p:cNvPr id="1" name="Shape 1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Google Shape;200;p46"/>
          <p:cNvSpPr/>
          <p:nvPr/>
        </p:nvSpPr>
        <p:spPr>
          <a:xfrm>
            <a:off x="0" y="0"/>
            <a:ext cx="12192000" cy="449579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0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1" name="Google Shape;201;p46"/>
          <p:cNvSpPr txBox="1">
            <a:spLocks noGrp="1"/>
          </p:cNvSpPr>
          <p:nvPr>
            <p:ph type="title"/>
          </p:nvPr>
        </p:nvSpPr>
        <p:spPr>
          <a:xfrm>
            <a:off x="542926" y="1427277"/>
            <a:ext cx="7077074" cy="81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accent1"/>
                </a:solidFill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2" name="Google Shape;202;p46"/>
          <p:cNvSpPr txBox="1">
            <a:spLocks noGrp="1"/>
          </p:cNvSpPr>
          <p:nvPr>
            <p:ph type="sldNum" idx="12"/>
          </p:nvPr>
        </p:nvSpPr>
        <p:spPr>
          <a:xfrm>
            <a:off x="10512506" y="375991"/>
            <a:ext cx="1259824" cy="20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05" name="Google Shape;205;p46"/>
          <p:cNvSpPr txBox="1">
            <a:spLocks noGrp="1"/>
          </p:cNvSpPr>
          <p:nvPr>
            <p:ph type="body" idx="1"/>
          </p:nvPr>
        </p:nvSpPr>
        <p:spPr>
          <a:xfrm>
            <a:off x="542926" y="914400"/>
            <a:ext cx="7087042" cy="22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lt2"/>
                </a:solidFill>
              </a:defRPr>
            </a:lvl1pPr>
            <a:lvl2pPr marL="914400" lvl="1" indent="-228600" algn="l">
              <a:spcBef>
                <a:spcPts val="30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lt2"/>
                </a:solidFill>
              </a:defRPr>
            </a:lvl2pPr>
            <a:lvl3pPr marL="1371600" lvl="2" indent="-228600" algn="l">
              <a:spcBef>
                <a:spcPts val="300"/>
              </a:spcBef>
              <a:spcAft>
                <a:spcPts val="0"/>
              </a:spcAft>
              <a:buSzPts val="1200"/>
              <a:buFont typeface="Arial"/>
              <a:buNone/>
              <a:defRPr sz="1200" b="0">
                <a:solidFill>
                  <a:schemeClr val="lt2"/>
                </a:solidFill>
              </a:defRPr>
            </a:lvl3pPr>
            <a:lvl4pPr marL="1828800" lvl="3" indent="-228600" algn="l">
              <a:spcBef>
                <a:spcPts val="30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lt2"/>
                </a:solidFill>
              </a:defRPr>
            </a:lvl4pPr>
            <a:lvl5pPr marL="2286000" lvl="4" indent="-228600" algn="l">
              <a:spcBef>
                <a:spcPts val="300"/>
              </a:spcBef>
              <a:spcAft>
                <a:spcPts val="0"/>
              </a:spcAft>
              <a:buSzPts val="1200"/>
              <a:buFont typeface="Arial"/>
              <a:buNone/>
              <a:defRPr sz="1200" b="0">
                <a:solidFill>
                  <a:schemeClr val="lt2"/>
                </a:solidFill>
              </a:defRPr>
            </a:lvl5pPr>
            <a:lvl6pPr marL="2743200" lvl="5" indent="-342900" algn="l">
              <a:spcBef>
                <a:spcPts val="3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" name="Google Shape;40;p32">
            <a:extLst>
              <a:ext uri="{FF2B5EF4-FFF2-40B4-BE49-F238E27FC236}">
                <a16:creationId xmlns:a16="http://schemas.microsoft.com/office/drawing/2014/main" id="{58327111-A17D-2B83-7821-661E70EF07B7}"/>
              </a:ext>
            </a:extLst>
          </p:cNvPr>
          <p:cNvSpPr txBox="1"/>
          <p:nvPr userDrawn="1"/>
        </p:nvSpPr>
        <p:spPr>
          <a:xfrm>
            <a:off x="516835" y="6334236"/>
            <a:ext cx="3550340" cy="2974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None/>
            </a:pPr>
            <a:r>
              <a:rPr lang="ru-RU" sz="12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ЗоРРО</a:t>
            </a:r>
            <a:r>
              <a:rPr lang="ru-RU" sz="1200" b="1" i="0" u="none" strike="noStrike" cap="none" baseline="30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® </a:t>
            </a:r>
            <a:r>
              <a:rPr lang="de-CH" sz="1200" b="1" i="0" u="none" strike="noStrike" cap="none" baseline="30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2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024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| Internal Use Only</a:t>
            </a:r>
            <a:endParaRPr b="0" dirty="0"/>
          </a:p>
        </p:txBody>
      </p:sp>
      <p:pic>
        <p:nvPicPr>
          <p:cNvPr id="3" name="Google Shape;53;p32">
            <a:extLst>
              <a:ext uri="{FF2B5EF4-FFF2-40B4-BE49-F238E27FC236}">
                <a16:creationId xmlns:a16="http://schemas.microsoft.com/office/drawing/2014/main" id="{8289B5CA-2876-3267-720B-8F2BF92E89B8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0566400" y="6399249"/>
            <a:ext cx="1205930" cy="16552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4" name="Google Shape;54;p32">
            <a:extLst>
              <a:ext uri="{FF2B5EF4-FFF2-40B4-BE49-F238E27FC236}">
                <a16:creationId xmlns:a16="http://schemas.microsoft.com/office/drawing/2014/main" id="{7D184EB7-1E03-ACE6-5DFE-98763AEB483F}"/>
              </a:ext>
            </a:extLst>
          </p:cNvPr>
          <p:cNvCxnSpPr>
            <a:cxnSpLocks/>
          </p:cNvCxnSpPr>
          <p:nvPr userDrawn="1"/>
        </p:nvCxnSpPr>
        <p:spPr>
          <a:xfrm>
            <a:off x="3743325" y="6492239"/>
            <a:ext cx="6630035" cy="0"/>
          </a:xfrm>
          <a:prstGeom prst="straightConnector1">
            <a:avLst/>
          </a:prstGeom>
          <a:solidFill>
            <a:schemeClr val="accent2"/>
          </a:solidFill>
          <a:ln w="19050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0CD4ADE0-3DFF-8C85-DCCA-13444BAC13A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42926" y="397563"/>
            <a:ext cx="1573333" cy="418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9867968"/>
      </p:ext>
    </p:extLst>
  </p:cSld>
  <p:clrMapOvr>
    <a:masterClrMapping/>
  </p:clrMapOvr>
  <p:transition>
    <p:wipe dir="r"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Content" preserve="1">
  <p:cSld name="Title + Content"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p47"/>
          <p:cNvSpPr txBox="1">
            <a:spLocks noGrp="1"/>
          </p:cNvSpPr>
          <p:nvPr>
            <p:ph type="title"/>
          </p:nvPr>
        </p:nvSpPr>
        <p:spPr>
          <a:xfrm>
            <a:off x="542926" y="1260318"/>
            <a:ext cx="11172864" cy="81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accent1"/>
                </a:solidFill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211" name="Google Shape;211;p47"/>
          <p:cNvSpPr txBox="1">
            <a:spLocks noGrp="1"/>
          </p:cNvSpPr>
          <p:nvPr>
            <p:ph type="sldNum" idx="12"/>
          </p:nvPr>
        </p:nvSpPr>
        <p:spPr>
          <a:xfrm>
            <a:off x="10512506" y="375991"/>
            <a:ext cx="1259824" cy="20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12" name="Google Shape;212;p47"/>
          <p:cNvSpPr txBox="1">
            <a:spLocks noGrp="1"/>
          </p:cNvSpPr>
          <p:nvPr>
            <p:ph type="body" idx="1"/>
          </p:nvPr>
        </p:nvSpPr>
        <p:spPr>
          <a:xfrm>
            <a:off x="542925" y="2209800"/>
            <a:ext cx="11172865" cy="27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marL="914400" lvl="1" indent="-304800" algn="l">
              <a:spcBef>
                <a:spcPts val="350"/>
              </a:spcBef>
              <a:spcAft>
                <a:spcPts val="0"/>
              </a:spcAft>
              <a:buSzPts val="1200"/>
              <a:buChar char="-"/>
              <a:defRPr sz="1200"/>
            </a:lvl2pPr>
            <a:lvl3pPr marL="1371600" lvl="2" indent="-292100" algn="l">
              <a:spcBef>
                <a:spcPts val="300"/>
              </a:spcBef>
              <a:spcAft>
                <a:spcPts val="0"/>
              </a:spcAft>
              <a:buSzPts val="1000"/>
              <a:buFont typeface="Arial"/>
              <a:buChar char="•"/>
              <a:defRPr sz="1000"/>
            </a:lvl3pPr>
            <a:lvl4pPr marL="1828800" lvl="3" indent="-292100" algn="l">
              <a:spcBef>
                <a:spcPts val="250"/>
              </a:spcBef>
              <a:spcAft>
                <a:spcPts val="0"/>
              </a:spcAft>
              <a:buSzPts val="1000"/>
              <a:buChar char="-"/>
              <a:defRPr sz="1000"/>
            </a:lvl4pPr>
            <a:lvl5pPr marL="2286000" lvl="4" indent="-292100" algn="l">
              <a:spcBef>
                <a:spcPts val="250"/>
              </a:spcBef>
              <a:spcAft>
                <a:spcPts val="0"/>
              </a:spcAft>
              <a:buSzPts val="1000"/>
              <a:buFont typeface="Arial"/>
              <a:buChar char="•"/>
              <a:defRPr sz="1000"/>
            </a:lvl5pPr>
            <a:lvl6pPr marL="2743200" lvl="5" indent="-342900" algn="l">
              <a:spcBef>
                <a:spcPts val="25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4" name="Google Shape;214;p47"/>
          <p:cNvSpPr txBox="1">
            <a:spLocks noGrp="1"/>
          </p:cNvSpPr>
          <p:nvPr>
            <p:ph type="body" idx="2"/>
          </p:nvPr>
        </p:nvSpPr>
        <p:spPr>
          <a:xfrm>
            <a:off x="542925" y="914400"/>
            <a:ext cx="11188601" cy="22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200"/>
              <a:buNone/>
              <a:defRPr sz="1200">
                <a:solidFill>
                  <a:schemeClr val="lt2"/>
                </a:solidFill>
              </a:defRPr>
            </a:lvl1pPr>
            <a:lvl2pPr marL="914400" lvl="1" indent="-228600" algn="l">
              <a:spcBef>
                <a:spcPts val="300"/>
              </a:spcBef>
              <a:spcAft>
                <a:spcPts val="0"/>
              </a:spcAft>
              <a:buSzPts val="1200"/>
              <a:buNone/>
              <a:defRPr sz="1200">
                <a:solidFill>
                  <a:schemeClr val="lt2"/>
                </a:solidFill>
              </a:defRPr>
            </a:lvl2pPr>
            <a:lvl3pPr marL="1371600" lvl="2" indent="-228600" algn="l">
              <a:spcBef>
                <a:spcPts val="300"/>
              </a:spcBef>
              <a:spcAft>
                <a:spcPts val="0"/>
              </a:spcAft>
              <a:buSzPts val="1200"/>
              <a:buFont typeface="Arial"/>
              <a:buNone/>
              <a:defRPr sz="1200">
                <a:solidFill>
                  <a:schemeClr val="lt2"/>
                </a:solidFill>
              </a:defRPr>
            </a:lvl3pPr>
            <a:lvl4pPr marL="1828800" lvl="3" indent="-228600" algn="l">
              <a:spcBef>
                <a:spcPts val="300"/>
              </a:spcBef>
              <a:spcAft>
                <a:spcPts val="0"/>
              </a:spcAft>
              <a:buSzPts val="1200"/>
              <a:buNone/>
              <a:defRPr sz="1200">
                <a:solidFill>
                  <a:schemeClr val="lt2"/>
                </a:solidFill>
              </a:defRPr>
            </a:lvl4pPr>
            <a:lvl5pPr marL="2286000" lvl="4" indent="-228600" algn="l">
              <a:spcBef>
                <a:spcPts val="300"/>
              </a:spcBef>
              <a:spcAft>
                <a:spcPts val="0"/>
              </a:spcAft>
              <a:buSzPts val="1200"/>
              <a:buFont typeface="Arial"/>
              <a:buNone/>
              <a:defRPr sz="1200">
                <a:solidFill>
                  <a:schemeClr val="lt2"/>
                </a:solidFill>
              </a:defRPr>
            </a:lvl5pPr>
            <a:lvl6pPr marL="2743200" lvl="5" indent="-342900" algn="l">
              <a:spcBef>
                <a:spcPts val="3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" name="Google Shape;40;p32">
            <a:extLst>
              <a:ext uri="{FF2B5EF4-FFF2-40B4-BE49-F238E27FC236}">
                <a16:creationId xmlns:a16="http://schemas.microsoft.com/office/drawing/2014/main" id="{97A01198-D8A2-6024-24A5-84D39722BD6C}"/>
              </a:ext>
            </a:extLst>
          </p:cNvPr>
          <p:cNvSpPr txBox="1"/>
          <p:nvPr userDrawn="1"/>
        </p:nvSpPr>
        <p:spPr>
          <a:xfrm>
            <a:off x="516835" y="6334236"/>
            <a:ext cx="3550340" cy="2974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None/>
            </a:pPr>
            <a:r>
              <a:rPr lang="ru-RU" sz="12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ЗоРРО</a:t>
            </a:r>
            <a:r>
              <a:rPr lang="ru-RU" sz="1200" b="1" i="0" u="none" strike="noStrike" cap="none" baseline="30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® </a:t>
            </a:r>
            <a:r>
              <a:rPr lang="de-CH" sz="1200" b="1" i="0" u="none" strike="noStrike" cap="none" baseline="30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2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024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| Internal Use Only</a:t>
            </a:r>
            <a:endParaRPr b="0" dirty="0"/>
          </a:p>
        </p:txBody>
      </p:sp>
      <p:pic>
        <p:nvPicPr>
          <p:cNvPr id="3" name="Google Shape;53;p32">
            <a:extLst>
              <a:ext uri="{FF2B5EF4-FFF2-40B4-BE49-F238E27FC236}">
                <a16:creationId xmlns:a16="http://schemas.microsoft.com/office/drawing/2014/main" id="{4FE003EB-75A7-7F1B-70E7-EB058834545E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0566400" y="6399249"/>
            <a:ext cx="1205930" cy="16552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4" name="Google Shape;54;p32">
            <a:extLst>
              <a:ext uri="{FF2B5EF4-FFF2-40B4-BE49-F238E27FC236}">
                <a16:creationId xmlns:a16="http://schemas.microsoft.com/office/drawing/2014/main" id="{6A8CDB45-8796-B13E-0898-E80E4B5B7F71}"/>
              </a:ext>
            </a:extLst>
          </p:cNvPr>
          <p:cNvCxnSpPr>
            <a:cxnSpLocks/>
          </p:cNvCxnSpPr>
          <p:nvPr userDrawn="1"/>
        </p:nvCxnSpPr>
        <p:spPr>
          <a:xfrm>
            <a:off x="3743325" y="6492239"/>
            <a:ext cx="6630035" cy="0"/>
          </a:xfrm>
          <a:prstGeom prst="straightConnector1">
            <a:avLst/>
          </a:prstGeom>
          <a:solidFill>
            <a:schemeClr val="accent2"/>
          </a:solidFill>
          <a:ln w="19050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3DBB4FF0-FA68-B5ED-DD3A-92DFFFC575E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42926" y="397563"/>
            <a:ext cx="1573333" cy="418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1627411"/>
      </p:ext>
    </p:extLst>
  </p:cSld>
  <p:clrMapOvr>
    <a:masterClrMapping/>
  </p:clrMapOvr>
  <p:transition>
    <p:wipe dir="r"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Line Slide" preserve="1">
  <p:cSld name="Line Slide">
    <p:spTree>
      <p:nvGrpSpPr>
        <p:cNvPr id="1" name="Shape 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" name="Google Shape;218;p48"/>
          <p:cNvSpPr txBox="1">
            <a:spLocks noGrp="1"/>
          </p:cNvSpPr>
          <p:nvPr>
            <p:ph type="title"/>
          </p:nvPr>
        </p:nvSpPr>
        <p:spPr>
          <a:xfrm>
            <a:off x="542926" y="1260318"/>
            <a:ext cx="11172864" cy="81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accent1"/>
                </a:solidFill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9" name="Google Shape;219;p48"/>
          <p:cNvSpPr txBox="1">
            <a:spLocks noGrp="1"/>
          </p:cNvSpPr>
          <p:nvPr>
            <p:ph type="sldNum" idx="12"/>
          </p:nvPr>
        </p:nvSpPr>
        <p:spPr>
          <a:xfrm>
            <a:off x="10512506" y="375991"/>
            <a:ext cx="1259824" cy="20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22" name="Google Shape;222;p48"/>
          <p:cNvSpPr txBox="1">
            <a:spLocks noGrp="1"/>
          </p:cNvSpPr>
          <p:nvPr>
            <p:ph type="body" idx="1"/>
          </p:nvPr>
        </p:nvSpPr>
        <p:spPr>
          <a:xfrm>
            <a:off x="542925" y="914400"/>
            <a:ext cx="11188601" cy="22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200"/>
              <a:buNone/>
              <a:defRPr sz="1200">
                <a:solidFill>
                  <a:schemeClr val="lt2"/>
                </a:solidFill>
              </a:defRPr>
            </a:lvl1pPr>
            <a:lvl2pPr marL="914400" lvl="1" indent="-228600" algn="l">
              <a:spcBef>
                <a:spcPts val="300"/>
              </a:spcBef>
              <a:spcAft>
                <a:spcPts val="0"/>
              </a:spcAft>
              <a:buSzPts val="1200"/>
              <a:buNone/>
              <a:defRPr sz="1200">
                <a:solidFill>
                  <a:schemeClr val="lt2"/>
                </a:solidFill>
              </a:defRPr>
            </a:lvl2pPr>
            <a:lvl3pPr marL="1371600" lvl="2" indent="-228600" algn="l">
              <a:spcBef>
                <a:spcPts val="300"/>
              </a:spcBef>
              <a:spcAft>
                <a:spcPts val="0"/>
              </a:spcAft>
              <a:buSzPts val="1200"/>
              <a:buFont typeface="Arial"/>
              <a:buNone/>
              <a:defRPr sz="1200">
                <a:solidFill>
                  <a:schemeClr val="lt2"/>
                </a:solidFill>
              </a:defRPr>
            </a:lvl3pPr>
            <a:lvl4pPr marL="1828800" lvl="3" indent="-228600" algn="l">
              <a:spcBef>
                <a:spcPts val="300"/>
              </a:spcBef>
              <a:spcAft>
                <a:spcPts val="0"/>
              </a:spcAft>
              <a:buSzPts val="1200"/>
              <a:buNone/>
              <a:defRPr sz="1200">
                <a:solidFill>
                  <a:schemeClr val="lt2"/>
                </a:solidFill>
              </a:defRPr>
            </a:lvl4pPr>
            <a:lvl5pPr marL="2286000" lvl="4" indent="-228600" algn="l">
              <a:spcBef>
                <a:spcPts val="300"/>
              </a:spcBef>
              <a:spcAft>
                <a:spcPts val="0"/>
              </a:spcAft>
              <a:buSzPts val="1200"/>
              <a:buFont typeface="Arial"/>
              <a:buNone/>
              <a:defRPr sz="1200">
                <a:solidFill>
                  <a:schemeClr val="lt2"/>
                </a:solidFill>
              </a:defRPr>
            </a:lvl5pPr>
            <a:lvl6pPr marL="2743200" lvl="5" indent="-342900" algn="l">
              <a:spcBef>
                <a:spcPts val="3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23" name="Google Shape;223;p48"/>
          <p:cNvCxnSpPr/>
          <p:nvPr/>
        </p:nvCxnSpPr>
        <p:spPr>
          <a:xfrm>
            <a:off x="491815" y="3826565"/>
            <a:ext cx="11208371" cy="0"/>
          </a:xfrm>
          <a:prstGeom prst="straightConnector1">
            <a:avLst/>
          </a:prstGeom>
          <a:solidFill>
            <a:schemeClr val="accent2"/>
          </a:solidFill>
          <a:ln w="1905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224" name="Google Shape;224;p48"/>
          <p:cNvGrpSpPr/>
          <p:nvPr/>
        </p:nvGrpSpPr>
        <p:grpSpPr>
          <a:xfrm>
            <a:off x="1243061" y="2455258"/>
            <a:ext cx="816350" cy="1626150"/>
            <a:chOff x="1064157" y="1882363"/>
            <a:chExt cx="816350" cy="1626150"/>
          </a:xfrm>
        </p:grpSpPr>
        <p:sp>
          <p:nvSpPr>
            <p:cNvPr id="225" name="Google Shape;225;p48"/>
            <p:cNvSpPr/>
            <p:nvPr/>
          </p:nvSpPr>
          <p:spPr>
            <a:xfrm>
              <a:off x="1233793" y="3031434"/>
              <a:ext cx="477079" cy="477079"/>
            </a:xfrm>
            <a:prstGeom prst="ellipse">
              <a:avLst/>
            </a:prstGeom>
            <a:solidFill>
              <a:srgbClr val="FFFFFF"/>
            </a:solidFill>
            <a:ln w="38100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000"/>
                <a:buFont typeface="Arial"/>
                <a:buNone/>
              </a:pPr>
              <a:endPara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6" name="Google Shape;226;p48"/>
            <p:cNvSpPr/>
            <p:nvPr/>
          </p:nvSpPr>
          <p:spPr>
            <a:xfrm>
              <a:off x="1064157" y="1882363"/>
              <a:ext cx="816350" cy="816350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000"/>
                <a:buFont typeface="Arial"/>
                <a:buNone/>
              </a:pPr>
              <a:endPara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227" name="Google Shape;227;p48"/>
            <p:cNvCxnSpPr/>
            <p:nvPr/>
          </p:nvCxnSpPr>
          <p:spPr>
            <a:xfrm>
              <a:off x="1472332" y="2623930"/>
              <a:ext cx="0" cy="407504"/>
            </a:xfrm>
            <a:prstGeom prst="straightConnector1">
              <a:avLst/>
            </a:prstGeom>
            <a:solidFill>
              <a:schemeClr val="accent2"/>
            </a:solidFill>
            <a:ln w="38100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sp>
        <p:nvSpPr>
          <p:cNvPr id="228" name="Google Shape;228;p48"/>
          <p:cNvSpPr txBox="1"/>
          <p:nvPr/>
        </p:nvSpPr>
        <p:spPr>
          <a:xfrm>
            <a:off x="1412696" y="3707934"/>
            <a:ext cx="477080" cy="289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/>
          </a:p>
        </p:txBody>
      </p:sp>
      <p:grpSp>
        <p:nvGrpSpPr>
          <p:cNvPr id="229" name="Google Shape;229;p48"/>
          <p:cNvGrpSpPr/>
          <p:nvPr/>
        </p:nvGrpSpPr>
        <p:grpSpPr>
          <a:xfrm>
            <a:off x="4771453" y="2455258"/>
            <a:ext cx="816350" cy="1626150"/>
            <a:chOff x="1064157" y="1882363"/>
            <a:chExt cx="816350" cy="1626150"/>
          </a:xfrm>
        </p:grpSpPr>
        <p:sp>
          <p:nvSpPr>
            <p:cNvPr id="230" name="Google Shape;230;p48"/>
            <p:cNvSpPr/>
            <p:nvPr/>
          </p:nvSpPr>
          <p:spPr>
            <a:xfrm>
              <a:off x="1233793" y="3031434"/>
              <a:ext cx="477079" cy="477079"/>
            </a:xfrm>
            <a:prstGeom prst="ellipse">
              <a:avLst/>
            </a:prstGeom>
            <a:solidFill>
              <a:srgbClr val="FFFFFF"/>
            </a:solidFill>
            <a:ln w="38100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000"/>
                <a:buFont typeface="Arial"/>
                <a:buNone/>
              </a:pPr>
              <a:endPara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1" name="Google Shape;231;p48"/>
            <p:cNvSpPr/>
            <p:nvPr/>
          </p:nvSpPr>
          <p:spPr>
            <a:xfrm>
              <a:off x="1064157" y="1882363"/>
              <a:ext cx="816350" cy="81635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000"/>
                <a:buFont typeface="Arial"/>
                <a:buNone/>
              </a:pPr>
              <a:endPara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232" name="Google Shape;232;p48"/>
            <p:cNvCxnSpPr/>
            <p:nvPr/>
          </p:nvCxnSpPr>
          <p:spPr>
            <a:xfrm>
              <a:off x="1472332" y="2623930"/>
              <a:ext cx="0" cy="407504"/>
            </a:xfrm>
            <a:prstGeom prst="straightConnector1">
              <a:avLst/>
            </a:prstGeom>
            <a:solidFill>
              <a:schemeClr val="accent2"/>
            </a:solidFill>
            <a:ln w="38100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grpSp>
        <p:nvGrpSpPr>
          <p:cNvPr id="233" name="Google Shape;233;p48"/>
          <p:cNvGrpSpPr/>
          <p:nvPr/>
        </p:nvGrpSpPr>
        <p:grpSpPr>
          <a:xfrm>
            <a:off x="8359480" y="2455258"/>
            <a:ext cx="816350" cy="1626150"/>
            <a:chOff x="1064157" y="1882363"/>
            <a:chExt cx="816350" cy="1626150"/>
          </a:xfrm>
        </p:grpSpPr>
        <p:sp>
          <p:nvSpPr>
            <p:cNvPr id="234" name="Google Shape;234;p48"/>
            <p:cNvSpPr/>
            <p:nvPr/>
          </p:nvSpPr>
          <p:spPr>
            <a:xfrm>
              <a:off x="1233793" y="3031434"/>
              <a:ext cx="477079" cy="477079"/>
            </a:xfrm>
            <a:prstGeom prst="ellipse">
              <a:avLst/>
            </a:prstGeom>
            <a:solidFill>
              <a:srgbClr val="FFFFFF"/>
            </a:solidFill>
            <a:ln w="38100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000"/>
                <a:buFont typeface="Arial"/>
                <a:buNone/>
              </a:pPr>
              <a:endPara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5" name="Google Shape;235;p48"/>
            <p:cNvSpPr/>
            <p:nvPr/>
          </p:nvSpPr>
          <p:spPr>
            <a:xfrm>
              <a:off x="1064157" y="1882363"/>
              <a:ext cx="816350" cy="8163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000"/>
                <a:buFont typeface="Arial"/>
                <a:buNone/>
              </a:pPr>
              <a:endPara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236" name="Google Shape;236;p48"/>
            <p:cNvCxnSpPr/>
            <p:nvPr/>
          </p:nvCxnSpPr>
          <p:spPr>
            <a:xfrm>
              <a:off x="1472332" y="2623930"/>
              <a:ext cx="0" cy="407504"/>
            </a:xfrm>
            <a:prstGeom prst="straightConnector1">
              <a:avLst/>
            </a:prstGeom>
            <a:solidFill>
              <a:schemeClr val="accent2"/>
            </a:solidFill>
            <a:ln w="38100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grpSp>
        <p:nvGrpSpPr>
          <p:cNvPr id="237" name="Google Shape;237;p48"/>
          <p:cNvGrpSpPr/>
          <p:nvPr/>
        </p:nvGrpSpPr>
        <p:grpSpPr>
          <a:xfrm rot="10800000">
            <a:off x="2873079" y="3601054"/>
            <a:ext cx="816350" cy="1626150"/>
            <a:chOff x="1064157" y="1882363"/>
            <a:chExt cx="816350" cy="1626150"/>
          </a:xfrm>
        </p:grpSpPr>
        <p:sp>
          <p:nvSpPr>
            <p:cNvPr id="238" name="Google Shape;238;p48"/>
            <p:cNvSpPr/>
            <p:nvPr/>
          </p:nvSpPr>
          <p:spPr>
            <a:xfrm>
              <a:off x="1233793" y="3031434"/>
              <a:ext cx="477079" cy="477079"/>
            </a:xfrm>
            <a:prstGeom prst="ellipse">
              <a:avLst/>
            </a:prstGeom>
            <a:solidFill>
              <a:srgbClr val="FFFFFF"/>
            </a:solidFill>
            <a:ln w="38100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000"/>
                <a:buFont typeface="Arial"/>
                <a:buNone/>
              </a:pPr>
              <a:endPara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9" name="Google Shape;239;p48"/>
            <p:cNvSpPr/>
            <p:nvPr/>
          </p:nvSpPr>
          <p:spPr>
            <a:xfrm>
              <a:off x="1064157" y="1882363"/>
              <a:ext cx="816350" cy="8163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000"/>
                <a:buFont typeface="Arial"/>
                <a:buNone/>
              </a:pPr>
              <a:endPara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240" name="Google Shape;240;p48"/>
            <p:cNvCxnSpPr/>
            <p:nvPr/>
          </p:nvCxnSpPr>
          <p:spPr>
            <a:xfrm>
              <a:off x="1472332" y="2623930"/>
              <a:ext cx="0" cy="407504"/>
            </a:xfrm>
            <a:prstGeom prst="straightConnector1">
              <a:avLst/>
            </a:prstGeom>
            <a:solidFill>
              <a:schemeClr val="accent2"/>
            </a:solidFill>
            <a:ln w="38100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grpSp>
        <p:nvGrpSpPr>
          <p:cNvPr id="241" name="Google Shape;241;p48"/>
          <p:cNvGrpSpPr/>
          <p:nvPr/>
        </p:nvGrpSpPr>
        <p:grpSpPr>
          <a:xfrm rot="10800000">
            <a:off x="6401471" y="3601054"/>
            <a:ext cx="816350" cy="1626150"/>
            <a:chOff x="1064157" y="1882363"/>
            <a:chExt cx="816350" cy="1626150"/>
          </a:xfrm>
        </p:grpSpPr>
        <p:sp>
          <p:nvSpPr>
            <p:cNvPr id="242" name="Google Shape;242;p48"/>
            <p:cNvSpPr/>
            <p:nvPr/>
          </p:nvSpPr>
          <p:spPr>
            <a:xfrm>
              <a:off x="1233793" y="3031434"/>
              <a:ext cx="477079" cy="477079"/>
            </a:xfrm>
            <a:prstGeom prst="ellipse">
              <a:avLst/>
            </a:prstGeom>
            <a:solidFill>
              <a:srgbClr val="FFFFFF"/>
            </a:solidFill>
            <a:ln w="38100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000"/>
                <a:buFont typeface="Arial"/>
                <a:buNone/>
              </a:pPr>
              <a:endPara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3" name="Google Shape;243;p48"/>
            <p:cNvSpPr/>
            <p:nvPr/>
          </p:nvSpPr>
          <p:spPr>
            <a:xfrm>
              <a:off x="1064157" y="1882363"/>
              <a:ext cx="816350" cy="816350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000"/>
                <a:buFont typeface="Arial"/>
                <a:buNone/>
              </a:pPr>
              <a:endPara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244" name="Google Shape;244;p48"/>
            <p:cNvCxnSpPr/>
            <p:nvPr/>
          </p:nvCxnSpPr>
          <p:spPr>
            <a:xfrm>
              <a:off x="1472332" y="2623930"/>
              <a:ext cx="0" cy="407504"/>
            </a:xfrm>
            <a:prstGeom prst="straightConnector1">
              <a:avLst/>
            </a:prstGeom>
            <a:solidFill>
              <a:schemeClr val="accent2"/>
            </a:solidFill>
            <a:ln w="38100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sp>
        <p:nvSpPr>
          <p:cNvPr id="245" name="Google Shape;245;p48"/>
          <p:cNvSpPr txBox="1"/>
          <p:nvPr/>
        </p:nvSpPr>
        <p:spPr>
          <a:xfrm>
            <a:off x="3052652" y="3707934"/>
            <a:ext cx="477080" cy="289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/>
          </a:p>
        </p:txBody>
      </p:sp>
      <p:sp>
        <p:nvSpPr>
          <p:cNvPr id="246" name="Google Shape;246;p48"/>
          <p:cNvSpPr txBox="1"/>
          <p:nvPr/>
        </p:nvSpPr>
        <p:spPr>
          <a:xfrm>
            <a:off x="4941087" y="3707934"/>
            <a:ext cx="477080" cy="289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3</a:t>
            </a:r>
            <a:endParaRPr/>
          </a:p>
        </p:txBody>
      </p:sp>
      <p:sp>
        <p:nvSpPr>
          <p:cNvPr id="247" name="Google Shape;247;p48"/>
          <p:cNvSpPr txBox="1"/>
          <p:nvPr/>
        </p:nvSpPr>
        <p:spPr>
          <a:xfrm>
            <a:off x="6561166" y="3707934"/>
            <a:ext cx="477080" cy="289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4</a:t>
            </a:r>
            <a:endParaRPr/>
          </a:p>
        </p:txBody>
      </p:sp>
      <p:sp>
        <p:nvSpPr>
          <p:cNvPr id="248" name="Google Shape;248;p48"/>
          <p:cNvSpPr txBox="1"/>
          <p:nvPr/>
        </p:nvSpPr>
        <p:spPr>
          <a:xfrm>
            <a:off x="8529114" y="3707934"/>
            <a:ext cx="477080" cy="289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5</a:t>
            </a:r>
            <a:endParaRPr/>
          </a:p>
        </p:txBody>
      </p:sp>
      <p:sp>
        <p:nvSpPr>
          <p:cNvPr id="249" name="Google Shape;249;p48"/>
          <p:cNvSpPr>
            <a:spLocks noGrp="1"/>
          </p:cNvSpPr>
          <p:nvPr>
            <p:ph type="pic" idx="2"/>
          </p:nvPr>
        </p:nvSpPr>
        <p:spPr>
          <a:xfrm>
            <a:off x="1324211" y="2535200"/>
            <a:ext cx="654050" cy="654050"/>
          </a:xfrm>
          <a:prstGeom prst="rect">
            <a:avLst/>
          </a:prstGeom>
          <a:noFill/>
          <a:ln>
            <a:noFill/>
          </a:ln>
        </p:spPr>
      </p:sp>
      <p:sp>
        <p:nvSpPr>
          <p:cNvPr id="250" name="Google Shape;250;p48"/>
          <p:cNvSpPr>
            <a:spLocks noGrp="1"/>
          </p:cNvSpPr>
          <p:nvPr>
            <p:ph type="pic" idx="3"/>
          </p:nvPr>
        </p:nvSpPr>
        <p:spPr>
          <a:xfrm>
            <a:off x="4862541" y="2535200"/>
            <a:ext cx="654050" cy="654050"/>
          </a:xfrm>
          <a:prstGeom prst="rect">
            <a:avLst/>
          </a:prstGeom>
          <a:noFill/>
          <a:ln>
            <a:noFill/>
          </a:ln>
        </p:spPr>
      </p:sp>
      <p:sp>
        <p:nvSpPr>
          <p:cNvPr id="251" name="Google Shape;251;p48"/>
          <p:cNvSpPr>
            <a:spLocks noGrp="1"/>
          </p:cNvSpPr>
          <p:nvPr>
            <p:ph type="pic" idx="4"/>
          </p:nvPr>
        </p:nvSpPr>
        <p:spPr>
          <a:xfrm>
            <a:off x="8450567" y="2535200"/>
            <a:ext cx="654050" cy="654050"/>
          </a:xfrm>
          <a:prstGeom prst="rect">
            <a:avLst/>
          </a:prstGeom>
          <a:noFill/>
          <a:ln>
            <a:noFill/>
          </a:ln>
        </p:spPr>
      </p:sp>
      <p:sp>
        <p:nvSpPr>
          <p:cNvPr id="252" name="Google Shape;252;p48"/>
          <p:cNvSpPr>
            <a:spLocks noGrp="1"/>
          </p:cNvSpPr>
          <p:nvPr>
            <p:ph type="pic" idx="5"/>
          </p:nvPr>
        </p:nvSpPr>
        <p:spPr>
          <a:xfrm>
            <a:off x="2954228" y="4493209"/>
            <a:ext cx="654050" cy="654050"/>
          </a:xfrm>
          <a:prstGeom prst="rect">
            <a:avLst/>
          </a:prstGeom>
          <a:noFill/>
          <a:ln>
            <a:noFill/>
          </a:ln>
        </p:spPr>
      </p:sp>
      <p:sp>
        <p:nvSpPr>
          <p:cNvPr id="253" name="Google Shape;253;p48"/>
          <p:cNvSpPr>
            <a:spLocks noGrp="1"/>
          </p:cNvSpPr>
          <p:nvPr>
            <p:ph type="pic" idx="6"/>
          </p:nvPr>
        </p:nvSpPr>
        <p:spPr>
          <a:xfrm>
            <a:off x="6492558" y="4493209"/>
            <a:ext cx="654050" cy="654050"/>
          </a:xfrm>
          <a:prstGeom prst="rect">
            <a:avLst/>
          </a:prstGeom>
          <a:noFill/>
          <a:ln>
            <a:noFill/>
          </a:ln>
        </p:spPr>
      </p:sp>
      <p:sp>
        <p:nvSpPr>
          <p:cNvPr id="254" name="Google Shape;254;p48"/>
          <p:cNvSpPr txBox="1">
            <a:spLocks noGrp="1"/>
          </p:cNvSpPr>
          <p:nvPr>
            <p:ph type="body" idx="7"/>
          </p:nvPr>
        </p:nvSpPr>
        <p:spPr>
          <a:xfrm>
            <a:off x="2150498" y="2487037"/>
            <a:ext cx="1979612" cy="38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2"/>
                </a:solidFill>
              </a:defRPr>
            </a:lvl1pPr>
            <a:lvl2pPr marL="914400" lvl="1" indent="-228600" algn="l">
              <a:spcBef>
                <a:spcPts val="35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2"/>
                </a:solidFill>
              </a:defRPr>
            </a:lvl2pPr>
            <a:lvl3pPr marL="1371600" lvl="2" indent="-228600" algn="l">
              <a:spcBef>
                <a:spcPts val="350"/>
              </a:spcBef>
              <a:spcAft>
                <a:spcPts val="0"/>
              </a:spcAft>
              <a:buSzPts val="1400"/>
              <a:buFont typeface="Arial"/>
              <a:buNone/>
              <a:defRPr sz="1400">
                <a:solidFill>
                  <a:schemeClr val="lt2"/>
                </a:solidFill>
              </a:defRPr>
            </a:lvl3pPr>
            <a:lvl4pPr marL="1828800" lvl="3" indent="-228600" algn="l">
              <a:spcBef>
                <a:spcPts val="35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2"/>
                </a:solidFill>
              </a:defRPr>
            </a:lvl4pPr>
            <a:lvl5pPr marL="2286000" lvl="4" indent="-228600" algn="l">
              <a:spcBef>
                <a:spcPts val="350"/>
              </a:spcBef>
              <a:spcAft>
                <a:spcPts val="0"/>
              </a:spcAft>
              <a:buSzPts val="1400"/>
              <a:buFont typeface="Arial"/>
              <a:buNone/>
              <a:defRPr sz="1400">
                <a:solidFill>
                  <a:schemeClr val="lt2"/>
                </a:solidFill>
              </a:defRPr>
            </a:lvl5pPr>
            <a:lvl6pPr marL="2743200" lvl="5" indent="-342900" algn="l">
              <a:spcBef>
                <a:spcPts val="35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5" name="Google Shape;255;p48"/>
          <p:cNvSpPr txBox="1">
            <a:spLocks noGrp="1"/>
          </p:cNvSpPr>
          <p:nvPr>
            <p:ph type="body" idx="8"/>
          </p:nvPr>
        </p:nvSpPr>
        <p:spPr>
          <a:xfrm>
            <a:off x="2150764" y="2989506"/>
            <a:ext cx="1979342" cy="4628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900"/>
              <a:buNone/>
              <a:defRPr sz="900">
                <a:solidFill>
                  <a:schemeClr val="dk1"/>
                </a:solidFill>
              </a:defRPr>
            </a:lvl1pPr>
            <a:lvl2pPr marL="914400" lvl="1" indent="-228600" algn="l">
              <a:spcBef>
                <a:spcPts val="225"/>
              </a:spcBef>
              <a:spcAft>
                <a:spcPts val="0"/>
              </a:spcAft>
              <a:buSzPts val="900"/>
              <a:buNone/>
              <a:defRPr sz="900">
                <a:solidFill>
                  <a:schemeClr val="dk1"/>
                </a:solidFill>
              </a:defRPr>
            </a:lvl2pPr>
            <a:lvl3pPr marL="1371600" lvl="2" indent="-228600" algn="l">
              <a:spcBef>
                <a:spcPts val="225"/>
              </a:spcBef>
              <a:spcAft>
                <a:spcPts val="0"/>
              </a:spcAft>
              <a:buSzPts val="900"/>
              <a:buFont typeface="Arial"/>
              <a:buNone/>
              <a:defRPr sz="900">
                <a:solidFill>
                  <a:schemeClr val="dk1"/>
                </a:solidFill>
              </a:defRPr>
            </a:lvl3pPr>
            <a:lvl4pPr marL="1828800" lvl="3" indent="-228600" algn="l">
              <a:spcBef>
                <a:spcPts val="225"/>
              </a:spcBef>
              <a:spcAft>
                <a:spcPts val="0"/>
              </a:spcAft>
              <a:buSzPts val="900"/>
              <a:buNone/>
              <a:defRPr sz="900">
                <a:solidFill>
                  <a:schemeClr val="dk1"/>
                </a:solidFill>
              </a:defRPr>
            </a:lvl4pPr>
            <a:lvl5pPr marL="2286000" lvl="4" indent="-228600" algn="l">
              <a:spcBef>
                <a:spcPts val="225"/>
              </a:spcBef>
              <a:spcAft>
                <a:spcPts val="0"/>
              </a:spcAft>
              <a:buSzPts val="900"/>
              <a:buFont typeface="Arial"/>
              <a:buNone/>
              <a:defRPr sz="900">
                <a:solidFill>
                  <a:schemeClr val="dk1"/>
                </a:solidFill>
              </a:defRPr>
            </a:lvl5pPr>
            <a:lvl6pPr marL="2743200" lvl="5" indent="-342900" algn="l">
              <a:spcBef>
                <a:spcPts val="225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6" name="Google Shape;256;p48"/>
          <p:cNvSpPr txBox="1">
            <a:spLocks noGrp="1"/>
          </p:cNvSpPr>
          <p:nvPr>
            <p:ph type="body" idx="9"/>
          </p:nvPr>
        </p:nvSpPr>
        <p:spPr>
          <a:xfrm>
            <a:off x="5718645" y="2487037"/>
            <a:ext cx="1979612" cy="38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accent2"/>
                </a:solidFill>
              </a:defRPr>
            </a:lvl1pPr>
            <a:lvl2pPr marL="914400" lvl="1" indent="-228600" algn="l">
              <a:spcBef>
                <a:spcPts val="35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accent2"/>
                </a:solidFill>
              </a:defRPr>
            </a:lvl2pPr>
            <a:lvl3pPr marL="1371600" lvl="2" indent="-228600" algn="l">
              <a:spcBef>
                <a:spcPts val="350"/>
              </a:spcBef>
              <a:spcAft>
                <a:spcPts val="0"/>
              </a:spcAft>
              <a:buSzPts val="1400"/>
              <a:buFont typeface="Arial"/>
              <a:buNone/>
              <a:defRPr sz="1400">
                <a:solidFill>
                  <a:schemeClr val="accent2"/>
                </a:solidFill>
              </a:defRPr>
            </a:lvl3pPr>
            <a:lvl4pPr marL="1828800" lvl="3" indent="-228600" algn="l">
              <a:spcBef>
                <a:spcPts val="35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accent2"/>
                </a:solidFill>
              </a:defRPr>
            </a:lvl4pPr>
            <a:lvl5pPr marL="2286000" lvl="4" indent="-228600" algn="l">
              <a:spcBef>
                <a:spcPts val="350"/>
              </a:spcBef>
              <a:spcAft>
                <a:spcPts val="0"/>
              </a:spcAft>
              <a:buSzPts val="1400"/>
              <a:buFont typeface="Arial"/>
              <a:buNone/>
              <a:defRPr sz="1400">
                <a:solidFill>
                  <a:schemeClr val="accent2"/>
                </a:solidFill>
              </a:defRPr>
            </a:lvl5pPr>
            <a:lvl6pPr marL="2743200" lvl="5" indent="-342900" algn="l">
              <a:spcBef>
                <a:spcPts val="35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7" name="Google Shape;257;p48"/>
          <p:cNvSpPr txBox="1">
            <a:spLocks noGrp="1"/>
          </p:cNvSpPr>
          <p:nvPr>
            <p:ph type="body" idx="13"/>
          </p:nvPr>
        </p:nvSpPr>
        <p:spPr>
          <a:xfrm>
            <a:off x="5718911" y="2989506"/>
            <a:ext cx="1979342" cy="4628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900"/>
              <a:buNone/>
              <a:defRPr sz="900">
                <a:solidFill>
                  <a:schemeClr val="dk1"/>
                </a:solidFill>
              </a:defRPr>
            </a:lvl1pPr>
            <a:lvl2pPr marL="914400" lvl="1" indent="-228600" algn="l">
              <a:spcBef>
                <a:spcPts val="225"/>
              </a:spcBef>
              <a:spcAft>
                <a:spcPts val="0"/>
              </a:spcAft>
              <a:buSzPts val="900"/>
              <a:buNone/>
              <a:defRPr sz="900">
                <a:solidFill>
                  <a:schemeClr val="dk1"/>
                </a:solidFill>
              </a:defRPr>
            </a:lvl2pPr>
            <a:lvl3pPr marL="1371600" lvl="2" indent="-228600" algn="l">
              <a:spcBef>
                <a:spcPts val="225"/>
              </a:spcBef>
              <a:spcAft>
                <a:spcPts val="0"/>
              </a:spcAft>
              <a:buSzPts val="900"/>
              <a:buFont typeface="Arial"/>
              <a:buNone/>
              <a:defRPr sz="900">
                <a:solidFill>
                  <a:schemeClr val="dk1"/>
                </a:solidFill>
              </a:defRPr>
            </a:lvl3pPr>
            <a:lvl4pPr marL="1828800" lvl="3" indent="-228600" algn="l">
              <a:spcBef>
                <a:spcPts val="225"/>
              </a:spcBef>
              <a:spcAft>
                <a:spcPts val="0"/>
              </a:spcAft>
              <a:buSzPts val="900"/>
              <a:buNone/>
              <a:defRPr sz="900">
                <a:solidFill>
                  <a:schemeClr val="dk1"/>
                </a:solidFill>
              </a:defRPr>
            </a:lvl4pPr>
            <a:lvl5pPr marL="2286000" lvl="4" indent="-228600" algn="l">
              <a:spcBef>
                <a:spcPts val="225"/>
              </a:spcBef>
              <a:spcAft>
                <a:spcPts val="0"/>
              </a:spcAft>
              <a:buSzPts val="900"/>
              <a:buFont typeface="Arial"/>
              <a:buNone/>
              <a:defRPr sz="900">
                <a:solidFill>
                  <a:schemeClr val="dk1"/>
                </a:solidFill>
              </a:defRPr>
            </a:lvl5pPr>
            <a:lvl6pPr marL="2743200" lvl="5" indent="-342900" algn="l">
              <a:spcBef>
                <a:spcPts val="225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8" name="Google Shape;258;p48"/>
          <p:cNvSpPr txBox="1">
            <a:spLocks noGrp="1"/>
          </p:cNvSpPr>
          <p:nvPr>
            <p:ph type="body" idx="14"/>
          </p:nvPr>
        </p:nvSpPr>
        <p:spPr>
          <a:xfrm>
            <a:off x="9276854" y="2487037"/>
            <a:ext cx="1979612" cy="38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accent1"/>
                </a:solidFill>
              </a:defRPr>
            </a:lvl1pPr>
            <a:lvl2pPr marL="914400" lvl="1" indent="-228600" algn="l">
              <a:spcBef>
                <a:spcPts val="35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accent1"/>
                </a:solidFill>
              </a:defRPr>
            </a:lvl2pPr>
            <a:lvl3pPr marL="1371600" lvl="2" indent="-228600" algn="l">
              <a:spcBef>
                <a:spcPts val="350"/>
              </a:spcBef>
              <a:spcAft>
                <a:spcPts val="0"/>
              </a:spcAft>
              <a:buSzPts val="1400"/>
              <a:buFont typeface="Arial"/>
              <a:buNone/>
              <a:defRPr sz="1400">
                <a:solidFill>
                  <a:schemeClr val="accent1"/>
                </a:solidFill>
              </a:defRPr>
            </a:lvl3pPr>
            <a:lvl4pPr marL="1828800" lvl="3" indent="-228600" algn="l">
              <a:spcBef>
                <a:spcPts val="35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accent1"/>
                </a:solidFill>
              </a:defRPr>
            </a:lvl4pPr>
            <a:lvl5pPr marL="2286000" lvl="4" indent="-228600" algn="l">
              <a:spcBef>
                <a:spcPts val="350"/>
              </a:spcBef>
              <a:spcAft>
                <a:spcPts val="0"/>
              </a:spcAft>
              <a:buSzPts val="1400"/>
              <a:buFont typeface="Arial"/>
              <a:buNone/>
              <a:defRPr sz="1400">
                <a:solidFill>
                  <a:schemeClr val="accent1"/>
                </a:solidFill>
              </a:defRPr>
            </a:lvl5pPr>
            <a:lvl6pPr marL="2743200" lvl="5" indent="-342900" algn="l">
              <a:spcBef>
                <a:spcPts val="35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9" name="Google Shape;259;p48"/>
          <p:cNvSpPr txBox="1">
            <a:spLocks noGrp="1"/>
          </p:cNvSpPr>
          <p:nvPr>
            <p:ph type="body" idx="15"/>
          </p:nvPr>
        </p:nvSpPr>
        <p:spPr>
          <a:xfrm>
            <a:off x="9277120" y="2989506"/>
            <a:ext cx="1979342" cy="4628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900"/>
              <a:buNone/>
              <a:defRPr sz="900">
                <a:solidFill>
                  <a:schemeClr val="dk1"/>
                </a:solidFill>
              </a:defRPr>
            </a:lvl1pPr>
            <a:lvl2pPr marL="914400" lvl="1" indent="-228600" algn="l">
              <a:spcBef>
                <a:spcPts val="225"/>
              </a:spcBef>
              <a:spcAft>
                <a:spcPts val="0"/>
              </a:spcAft>
              <a:buSzPts val="900"/>
              <a:buNone/>
              <a:defRPr sz="900">
                <a:solidFill>
                  <a:schemeClr val="dk1"/>
                </a:solidFill>
              </a:defRPr>
            </a:lvl2pPr>
            <a:lvl3pPr marL="1371600" lvl="2" indent="-228600" algn="l">
              <a:spcBef>
                <a:spcPts val="225"/>
              </a:spcBef>
              <a:spcAft>
                <a:spcPts val="0"/>
              </a:spcAft>
              <a:buSzPts val="900"/>
              <a:buFont typeface="Arial"/>
              <a:buNone/>
              <a:defRPr sz="900">
                <a:solidFill>
                  <a:schemeClr val="dk1"/>
                </a:solidFill>
              </a:defRPr>
            </a:lvl3pPr>
            <a:lvl4pPr marL="1828800" lvl="3" indent="-228600" algn="l">
              <a:spcBef>
                <a:spcPts val="225"/>
              </a:spcBef>
              <a:spcAft>
                <a:spcPts val="0"/>
              </a:spcAft>
              <a:buSzPts val="900"/>
              <a:buNone/>
              <a:defRPr sz="900">
                <a:solidFill>
                  <a:schemeClr val="dk1"/>
                </a:solidFill>
              </a:defRPr>
            </a:lvl4pPr>
            <a:lvl5pPr marL="2286000" lvl="4" indent="-228600" algn="l">
              <a:spcBef>
                <a:spcPts val="225"/>
              </a:spcBef>
              <a:spcAft>
                <a:spcPts val="0"/>
              </a:spcAft>
              <a:buSzPts val="900"/>
              <a:buFont typeface="Arial"/>
              <a:buNone/>
              <a:defRPr sz="900">
                <a:solidFill>
                  <a:schemeClr val="dk1"/>
                </a:solidFill>
              </a:defRPr>
            </a:lvl5pPr>
            <a:lvl6pPr marL="2743200" lvl="5" indent="-342900" algn="l">
              <a:spcBef>
                <a:spcPts val="225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0" name="Google Shape;260;p48"/>
          <p:cNvSpPr txBox="1">
            <a:spLocks noGrp="1"/>
          </p:cNvSpPr>
          <p:nvPr>
            <p:ph type="body" idx="16"/>
          </p:nvPr>
        </p:nvSpPr>
        <p:spPr>
          <a:xfrm>
            <a:off x="3770576" y="4454985"/>
            <a:ext cx="1979612" cy="38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accent1"/>
                </a:solidFill>
              </a:defRPr>
            </a:lvl1pPr>
            <a:lvl2pPr marL="914400" lvl="1" indent="-228600" algn="l">
              <a:spcBef>
                <a:spcPts val="35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accent1"/>
                </a:solidFill>
              </a:defRPr>
            </a:lvl2pPr>
            <a:lvl3pPr marL="1371600" lvl="2" indent="-228600" algn="l">
              <a:spcBef>
                <a:spcPts val="350"/>
              </a:spcBef>
              <a:spcAft>
                <a:spcPts val="0"/>
              </a:spcAft>
              <a:buSzPts val="1400"/>
              <a:buFont typeface="Arial"/>
              <a:buNone/>
              <a:defRPr sz="1400">
                <a:solidFill>
                  <a:schemeClr val="accent1"/>
                </a:solidFill>
              </a:defRPr>
            </a:lvl3pPr>
            <a:lvl4pPr marL="1828800" lvl="3" indent="-228600" algn="l">
              <a:spcBef>
                <a:spcPts val="35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accent1"/>
                </a:solidFill>
              </a:defRPr>
            </a:lvl4pPr>
            <a:lvl5pPr marL="2286000" lvl="4" indent="-228600" algn="l">
              <a:spcBef>
                <a:spcPts val="350"/>
              </a:spcBef>
              <a:spcAft>
                <a:spcPts val="0"/>
              </a:spcAft>
              <a:buSzPts val="1400"/>
              <a:buFont typeface="Arial"/>
              <a:buNone/>
              <a:defRPr sz="1400">
                <a:solidFill>
                  <a:schemeClr val="accent1"/>
                </a:solidFill>
              </a:defRPr>
            </a:lvl5pPr>
            <a:lvl6pPr marL="2743200" lvl="5" indent="-342900" algn="l">
              <a:spcBef>
                <a:spcPts val="35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1" name="Google Shape;261;p48"/>
          <p:cNvSpPr txBox="1">
            <a:spLocks noGrp="1"/>
          </p:cNvSpPr>
          <p:nvPr>
            <p:ph type="body" idx="17"/>
          </p:nvPr>
        </p:nvSpPr>
        <p:spPr>
          <a:xfrm>
            <a:off x="3770842" y="4957454"/>
            <a:ext cx="1979342" cy="4628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900"/>
              <a:buNone/>
              <a:defRPr sz="900">
                <a:solidFill>
                  <a:schemeClr val="dk1"/>
                </a:solidFill>
              </a:defRPr>
            </a:lvl1pPr>
            <a:lvl2pPr marL="914400" lvl="1" indent="-228600" algn="l">
              <a:spcBef>
                <a:spcPts val="225"/>
              </a:spcBef>
              <a:spcAft>
                <a:spcPts val="0"/>
              </a:spcAft>
              <a:buSzPts val="900"/>
              <a:buNone/>
              <a:defRPr sz="900">
                <a:solidFill>
                  <a:schemeClr val="dk1"/>
                </a:solidFill>
              </a:defRPr>
            </a:lvl2pPr>
            <a:lvl3pPr marL="1371600" lvl="2" indent="-228600" algn="l">
              <a:spcBef>
                <a:spcPts val="225"/>
              </a:spcBef>
              <a:spcAft>
                <a:spcPts val="0"/>
              </a:spcAft>
              <a:buSzPts val="900"/>
              <a:buFont typeface="Arial"/>
              <a:buNone/>
              <a:defRPr sz="900">
                <a:solidFill>
                  <a:schemeClr val="dk1"/>
                </a:solidFill>
              </a:defRPr>
            </a:lvl3pPr>
            <a:lvl4pPr marL="1828800" lvl="3" indent="-228600" algn="l">
              <a:spcBef>
                <a:spcPts val="225"/>
              </a:spcBef>
              <a:spcAft>
                <a:spcPts val="0"/>
              </a:spcAft>
              <a:buSzPts val="900"/>
              <a:buNone/>
              <a:defRPr sz="900">
                <a:solidFill>
                  <a:schemeClr val="dk1"/>
                </a:solidFill>
              </a:defRPr>
            </a:lvl4pPr>
            <a:lvl5pPr marL="2286000" lvl="4" indent="-228600" algn="l">
              <a:spcBef>
                <a:spcPts val="225"/>
              </a:spcBef>
              <a:spcAft>
                <a:spcPts val="0"/>
              </a:spcAft>
              <a:buSzPts val="900"/>
              <a:buFont typeface="Arial"/>
              <a:buNone/>
              <a:defRPr sz="900">
                <a:solidFill>
                  <a:schemeClr val="dk1"/>
                </a:solidFill>
              </a:defRPr>
            </a:lvl5pPr>
            <a:lvl6pPr marL="2743200" lvl="5" indent="-342900" algn="l">
              <a:spcBef>
                <a:spcPts val="225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2" name="Google Shape;262;p48"/>
          <p:cNvSpPr txBox="1">
            <a:spLocks noGrp="1"/>
          </p:cNvSpPr>
          <p:nvPr>
            <p:ph type="body" idx="18"/>
          </p:nvPr>
        </p:nvSpPr>
        <p:spPr>
          <a:xfrm>
            <a:off x="7318845" y="4454985"/>
            <a:ext cx="1979612" cy="38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2"/>
                </a:solidFill>
              </a:defRPr>
            </a:lvl1pPr>
            <a:lvl2pPr marL="914400" lvl="1" indent="-228600" algn="l">
              <a:spcBef>
                <a:spcPts val="35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2"/>
                </a:solidFill>
              </a:defRPr>
            </a:lvl2pPr>
            <a:lvl3pPr marL="1371600" lvl="2" indent="-228600" algn="l">
              <a:spcBef>
                <a:spcPts val="350"/>
              </a:spcBef>
              <a:spcAft>
                <a:spcPts val="0"/>
              </a:spcAft>
              <a:buSzPts val="1400"/>
              <a:buFont typeface="Arial"/>
              <a:buNone/>
              <a:defRPr sz="1400">
                <a:solidFill>
                  <a:schemeClr val="lt2"/>
                </a:solidFill>
              </a:defRPr>
            </a:lvl3pPr>
            <a:lvl4pPr marL="1828800" lvl="3" indent="-228600" algn="l">
              <a:spcBef>
                <a:spcPts val="35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2"/>
                </a:solidFill>
              </a:defRPr>
            </a:lvl4pPr>
            <a:lvl5pPr marL="2286000" lvl="4" indent="-228600" algn="l">
              <a:spcBef>
                <a:spcPts val="350"/>
              </a:spcBef>
              <a:spcAft>
                <a:spcPts val="0"/>
              </a:spcAft>
              <a:buSzPts val="1400"/>
              <a:buFont typeface="Arial"/>
              <a:buNone/>
              <a:defRPr sz="1400">
                <a:solidFill>
                  <a:schemeClr val="lt2"/>
                </a:solidFill>
              </a:defRPr>
            </a:lvl5pPr>
            <a:lvl6pPr marL="2743200" lvl="5" indent="-342900" algn="l">
              <a:spcBef>
                <a:spcPts val="35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3" name="Google Shape;263;p48"/>
          <p:cNvSpPr txBox="1">
            <a:spLocks noGrp="1"/>
          </p:cNvSpPr>
          <p:nvPr>
            <p:ph type="body" idx="19"/>
          </p:nvPr>
        </p:nvSpPr>
        <p:spPr>
          <a:xfrm>
            <a:off x="7319111" y="4957454"/>
            <a:ext cx="1979342" cy="4628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900"/>
              <a:buNone/>
              <a:defRPr sz="900">
                <a:solidFill>
                  <a:schemeClr val="dk1"/>
                </a:solidFill>
              </a:defRPr>
            </a:lvl1pPr>
            <a:lvl2pPr marL="914400" lvl="1" indent="-228600" algn="l">
              <a:spcBef>
                <a:spcPts val="225"/>
              </a:spcBef>
              <a:spcAft>
                <a:spcPts val="0"/>
              </a:spcAft>
              <a:buSzPts val="900"/>
              <a:buNone/>
              <a:defRPr sz="900">
                <a:solidFill>
                  <a:schemeClr val="dk1"/>
                </a:solidFill>
              </a:defRPr>
            </a:lvl2pPr>
            <a:lvl3pPr marL="1371600" lvl="2" indent="-228600" algn="l">
              <a:spcBef>
                <a:spcPts val="225"/>
              </a:spcBef>
              <a:spcAft>
                <a:spcPts val="0"/>
              </a:spcAft>
              <a:buSzPts val="900"/>
              <a:buFont typeface="Arial"/>
              <a:buNone/>
              <a:defRPr sz="900">
                <a:solidFill>
                  <a:schemeClr val="dk1"/>
                </a:solidFill>
              </a:defRPr>
            </a:lvl3pPr>
            <a:lvl4pPr marL="1828800" lvl="3" indent="-228600" algn="l">
              <a:spcBef>
                <a:spcPts val="225"/>
              </a:spcBef>
              <a:spcAft>
                <a:spcPts val="0"/>
              </a:spcAft>
              <a:buSzPts val="900"/>
              <a:buNone/>
              <a:defRPr sz="900">
                <a:solidFill>
                  <a:schemeClr val="dk1"/>
                </a:solidFill>
              </a:defRPr>
            </a:lvl4pPr>
            <a:lvl5pPr marL="2286000" lvl="4" indent="-228600" algn="l">
              <a:spcBef>
                <a:spcPts val="225"/>
              </a:spcBef>
              <a:spcAft>
                <a:spcPts val="0"/>
              </a:spcAft>
              <a:buSzPts val="900"/>
              <a:buFont typeface="Arial"/>
              <a:buNone/>
              <a:defRPr sz="900">
                <a:solidFill>
                  <a:schemeClr val="dk1"/>
                </a:solidFill>
              </a:defRPr>
            </a:lvl5pPr>
            <a:lvl6pPr marL="2743200" lvl="5" indent="-342900" algn="l">
              <a:spcBef>
                <a:spcPts val="225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" name="Google Shape;40;p32">
            <a:extLst>
              <a:ext uri="{FF2B5EF4-FFF2-40B4-BE49-F238E27FC236}">
                <a16:creationId xmlns:a16="http://schemas.microsoft.com/office/drawing/2014/main" id="{223E3F8F-894A-3CD7-8EA8-777DF5DC5A3C}"/>
              </a:ext>
            </a:extLst>
          </p:cNvPr>
          <p:cNvSpPr txBox="1"/>
          <p:nvPr userDrawn="1"/>
        </p:nvSpPr>
        <p:spPr>
          <a:xfrm>
            <a:off x="516835" y="6334236"/>
            <a:ext cx="3550340" cy="2974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None/>
            </a:pPr>
            <a:r>
              <a:rPr lang="ru-RU" sz="12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ЗоРРО</a:t>
            </a:r>
            <a:r>
              <a:rPr lang="ru-RU" sz="1200" b="1" i="0" u="none" strike="noStrike" cap="none" baseline="30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® </a:t>
            </a:r>
            <a:r>
              <a:rPr lang="de-CH" sz="1200" b="1" i="0" u="none" strike="noStrike" cap="none" baseline="30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2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024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| Internal Use Only</a:t>
            </a:r>
            <a:endParaRPr b="0" dirty="0"/>
          </a:p>
        </p:txBody>
      </p:sp>
      <p:pic>
        <p:nvPicPr>
          <p:cNvPr id="3" name="Google Shape;53;p32">
            <a:extLst>
              <a:ext uri="{FF2B5EF4-FFF2-40B4-BE49-F238E27FC236}">
                <a16:creationId xmlns:a16="http://schemas.microsoft.com/office/drawing/2014/main" id="{C197B9EF-6626-CECC-EBA5-B40AB331BE4C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0566400" y="6399249"/>
            <a:ext cx="1205930" cy="16552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4" name="Google Shape;54;p32">
            <a:extLst>
              <a:ext uri="{FF2B5EF4-FFF2-40B4-BE49-F238E27FC236}">
                <a16:creationId xmlns:a16="http://schemas.microsoft.com/office/drawing/2014/main" id="{05B7DDF8-8060-B783-5B97-55CB90DB12EF}"/>
              </a:ext>
            </a:extLst>
          </p:cNvPr>
          <p:cNvCxnSpPr>
            <a:cxnSpLocks/>
          </p:cNvCxnSpPr>
          <p:nvPr userDrawn="1"/>
        </p:nvCxnSpPr>
        <p:spPr>
          <a:xfrm>
            <a:off x="3743325" y="6492239"/>
            <a:ext cx="6630035" cy="0"/>
          </a:xfrm>
          <a:prstGeom prst="straightConnector1">
            <a:avLst/>
          </a:prstGeom>
          <a:solidFill>
            <a:schemeClr val="accent2"/>
          </a:solidFill>
          <a:ln w="19050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471B6A1C-7C23-4BE9-8395-6C48D526F1F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42926" y="397563"/>
            <a:ext cx="1573333" cy="418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5464398"/>
      </p:ext>
    </p:extLst>
  </p:cSld>
  <p:clrMapOvr>
    <a:masterClrMapping/>
  </p:clrMapOvr>
  <p:transition>
    <p:wipe dir="r"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3 contents" preserve="1" userDrawn="1">
  <p:cSld name="Title + 3 contents">
    <p:bg>
      <p:bgPr>
        <a:solidFill>
          <a:schemeClr val="dk2"/>
        </a:solidFill>
        <a:effectLst/>
      </p:bgPr>
    </p:bg>
    <p:spTree>
      <p:nvGrpSpPr>
        <p:cNvPr id="1" name="Shape 2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7" name="Google Shape;267;p49"/>
          <p:cNvSpPr txBox="1">
            <a:spLocks noGrp="1"/>
          </p:cNvSpPr>
          <p:nvPr>
            <p:ph type="sldNum" idx="12"/>
          </p:nvPr>
        </p:nvSpPr>
        <p:spPr>
          <a:xfrm>
            <a:off x="10512506" y="375991"/>
            <a:ext cx="1259824" cy="20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70" name="Google Shape;270;p49"/>
          <p:cNvSpPr txBox="1">
            <a:spLocks noGrp="1"/>
          </p:cNvSpPr>
          <p:nvPr>
            <p:ph type="body" idx="1"/>
          </p:nvPr>
        </p:nvSpPr>
        <p:spPr>
          <a:xfrm>
            <a:off x="542926" y="914400"/>
            <a:ext cx="7087042" cy="22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spcBef>
                <a:spcPts val="30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2pPr>
            <a:lvl3pPr marL="1371600" lvl="2" indent="-228600" algn="l">
              <a:spcBef>
                <a:spcPts val="300"/>
              </a:spcBef>
              <a:spcAft>
                <a:spcPts val="0"/>
              </a:spcAft>
              <a:buSzPts val="1200"/>
              <a:buFont typeface="Arial"/>
              <a:buNone/>
              <a:defRPr sz="1200" b="0">
                <a:solidFill>
                  <a:schemeClr val="dk1"/>
                </a:solidFill>
              </a:defRPr>
            </a:lvl3pPr>
            <a:lvl4pPr marL="1828800" lvl="3" indent="-228600" algn="l">
              <a:spcBef>
                <a:spcPts val="30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4pPr>
            <a:lvl5pPr marL="2286000" lvl="4" indent="-228600" algn="l">
              <a:spcBef>
                <a:spcPts val="300"/>
              </a:spcBef>
              <a:spcAft>
                <a:spcPts val="0"/>
              </a:spcAft>
              <a:buSzPts val="1200"/>
              <a:buFont typeface="Arial"/>
              <a:buNone/>
              <a:defRPr sz="1200" b="0">
                <a:solidFill>
                  <a:schemeClr val="dk1"/>
                </a:solidFill>
              </a:defRPr>
            </a:lvl5pPr>
            <a:lvl6pPr marL="2743200" lvl="5" indent="-342900" algn="l">
              <a:spcBef>
                <a:spcPts val="3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1" name="Google Shape;271;p49"/>
          <p:cNvSpPr/>
          <p:nvPr/>
        </p:nvSpPr>
        <p:spPr>
          <a:xfrm>
            <a:off x="4264971" y="2249774"/>
            <a:ext cx="3663763" cy="3553249"/>
          </a:xfrm>
          <a:prstGeom prst="roundRect">
            <a:avLst>
              <a:gd name="adj" fmla="val 1986"/>
            </a:avLst>
          </a:prstGeom>
          <a:solidFill>
            <a:srgbClr val="FFFFFF"/>
          </a:solidFill>
          <a:ln>
            <a:noFill/>
          </a:ln>
          <a:effectLst>
            <a:outerShdw blurRad="133740" dist="38100" dir="2700000" algn="tl" rotWithShape="0">
              <a:schemeClr val="dk1">
                <a:alpha val="7843"/>
              </a:schemeClr>
            </a:outerShdw>
          </a:effectLst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2" name="Google Shape;272;p49"/>
          <p:cNvSpPr/>
          <p:nvPr/>
        </p:nvSpPr>
        <p:spPr>
          <a:xfrm>
            <a:off x="8009657" y="2249774"/>
            <a:ext cx="3663763" cy="3553249"/>
          </a:xfrm>
          <a:prstGeom prst="roundRect">
            <a:avLst>
              <a:gd name="adj" fmla="val 1986"/>
            </a:avLst>
          </a:prstGeom>
          <a:solidFill>
            <a:srgbClr val="FFFFFF"/>
          </a:solidFill>
          <a:ln>
            <a:noFill/>
          </a:ln>
          <a:effectLst>
            <a:outerShdw blurRad="133740" dist="38100" dir="2700000" algn="tl" rotWithShape="0">
              <a:schemeClr val="dk1">
                <a:alpha val="7843"/>
              </a:schemeClr>
            </a:outerShdw>
          </a:effectLst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3" name="Google Shape;273;p49"/>
          <p:cNvSpPr/>
          <p:nvPr/>
        </p:nvSpPr>
        <p:spPr>
          <a:xfrm>
            <a:off x="509400" y="2249774"/>
            <a:ext cx="3663763" cy="3553249"/>
          </a:xfrm>
          <a:prstGeom prst="roundRect">
            <a:avLst>
              <a:gd name="adj" fmla="val 1986"/>
            </a:avLst>
          </a:prstGeom>
          <a:solidFill>
            <a:srgbClr val="FFFFFF"/>
          </a:solidFill>
          <a:ln>
            <a:noFill/>
          </a:ln>
          <a:effectLst>
            <a:outerShdw blurRad="133740" dist="38100" dir="2700000" algn="tl" rotWithShape="0">
              <a:schemeClr val="dk1">
                <a:alpha val="7843"/>
              </a:schemeClr>
            </a:outerShdw>
          </a:effectLst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4" name="Google Shape;274;p49"/>
          <p:cNvSpPr/>
          <p:nvPr/>
        </p:nvSpPr>
        <p:spPr>
          <a:xfrm>
            <a:off x="509401" y="2249774"/>
            <a:ext cx="3663763" cy="455283"/>
          </a:xfrm>
          <a:prstGeom prst="roundRect">
            <a:avLst>
              <a:gd name="adj" fmla="val 4818"/>
            </a:avLst>
          </a:prstGeom>
          <a:solidFill>
            <a:srgbClr val="00389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5" name="Google Shape;275;p49"/>
          <p:cNvSpPr/>
          <p:nvPr/>
        </p:nvSpPr>
        <p:spPr>
          <a:xfrm>
            <a:off x="4264277" y="2249774"/>
            <a:ext cx="3663763" cy="455283"/>
          </a:xfrm>
          <a:prstGeom prst="roundRect">
            <a:avLst>
              <a:gd name="adj" fmla="val 4818"/>
            </a:avLst>
          </a:prstGeom>
          <a:solidFill>
            <a:srgbClr val="0B71FF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6" name="Google Shape;276;p49"/>
          <p:cNvSpPr/>
          <p:nvPr/>
        </p:nvSpPr>
        <p:spPr>
          <a:xfrm>
            <a:off x="8019153" y="2249774"/>
            <a:ext cx="3663763" cy="455283"/>
          </a:xfrm>
          <a:prstGeom prst="roundRect">
            <a:avLst>
              <a:gd name="adj" fmla="val 4818"/>
            </a:avLst>
          </a:prstGeom>
          <a:solidFill>
            <a:srgbClr val="85AEFF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7" name="Google Shape;277;p49"/>
          <p:cNvSpPr txBox="1"/>
          <p:nvPr/>
        </p:nvSpPr>
        <p:spPr>
          <a:xfrm>
            <a:off x="509400" y="2249774"/>
            <a:ext cx="3663765" cy="4474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1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8" name="Google Shape;278;p49"/>
          <p:cNvSpPr txBox="1"/>
          <p:nvPr/>
        </p:nvSpPr>
        <p:spPr>
          <a:xfrm>
            <a:off x="4254549" y="2249774"/>
            <a:ext cx="3663765" cy="4474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1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9" name="Google Shape;279;p49"/>
          <p:cNvSpPr txBox="1"/>
          <p:nvPr/>
        </p:nvSpPr>
        <p:spPr>
          <a:xfrm>
            <a:off x="8019154" y="2249774"/>
            <a:ext cx="3663765" cy="4474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1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0" name="Google Shape;280;p49"/>
          <p:cNvSpPr txBox="1">
            <a:spLocks noGrp="1"/>
          </p:cNvSpPr>
          <p:nvPr>
            <p:ph type="body" idx="2"/>
          </p:nvPr>
        </p:nvSpPr>
        <p:spPr>
          <a:xfrm>
            <a:off x="509588" y="2249106"/>
            <a:ext cx="3663950" cy="4556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spcBef>
                <a:spcPts val="0"/>
              </a:spcBef>
              <a:spcAft>
                <a:spcPts val="0"/>
              </a:spcAft>
              <a:buSzPts val="1400"/>
              <a:buNone/>
              <a:defRPr sz="1400" b="1">
                <a:solidFill>
                  <a:srgbClr val="FFFFFF"/>
                </a:solidFill>
              </a:defRPr>
            </a:lvl1pPr>
            <a:lvl2pPr marL="914400" lvl="1" indent="-228600" algn="ctr">
              <a:spcBef>
                <a:spcPts val="350"/>
              </a:spcBef>
              <a:spcAft>
                <a:spcPts val="0"/>
              </a:spcAft>
              <a:buSzPts val="1600"/>
              <a:buNone/>
              <a:defRPr sz="1600" b="1">
                <a:solidFill>
                  <a:srgbClr val="FFFFFF"/>
                </a:solidFill>
              </a:defRPr>
            </a:lvl2pPr>
            <a:lvl3pPr marL="1371600" lvl="2" indent="-228600" algn="ctr">
              <a:spcBef>
                <a:spcPts val="400"/>
              </a:spcBef>
              <a:spcAft>
                <a:spcPts val="0"/>
              </a:spcAft>
              <a:buSzPts val="1600"/>
              <a:buFont typeface="Arial"/>
              <a:buNone/>
              <a:defRPr sz="1600" b="1">
                <a:solidFill>
                  <a:srgbClr val="FFFFFF"/>
                </a:solidFill>
              </a:defRPr>
            </a:lvl3pPr>
            <a:lvl4pPr marL="1828800" lvl="3" indent="-228600" algn="ctr">
              <a:spcBef>
                <a:spcPts val="400"/>
              </a:spcBef>
              <a:spcAft>
                <a:spcPts val="0"/>
              </a:spcAft>
              <a:buSzPts val="1600"/>
              <a:buNone/>
              <a:defRPr sz="1600" b="1">
                <a:solidFill>
                  <a:srgbClr val="FFFFFF"/>
                </a:solidFill>
              </a:defRPr>
            </a:lvl4pPr>
            <a:lvl5pPr marL="2286000" lvl="4" indent="-228600" algn="ctr">
              <a:spcBef>
                <a:spcPts val="400"/>
              </a:spcBef>
              <a:spcAft>
                <a:spcPts val="0"/>
              </a:spcAft>
              <a:buSzPts val="1600"/>
              <a:buFont typeface="Arial"/>
              <a:buNone/>
              <a:defRPr sz="1600" b="1">
                <a:solidFill>
                  <a:srgbClr val="FFFFFF"/>
                </a:solidFill>
              </a:defRPr>
            </a:lvl5pPr>
            <a:lvl6pPr marL="2743200" lvl="5" indent="-342900" algn="l">
              <a:spcBef>
                <a:spcPts val="4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 dirty="0"/>
          </a:p>
        </p:txBody>
      </p:sp>
      <p:sp>
        <p:nvSpPr>
          <p:cNvPr id="281" name="Google Shape;281;p49"/>
          <p:cNvSpPr txBox="1">
            <a:spLocks noGrp="1"/>
          </p:cNvSpPr>
          <p:nvPr>
            <p:ph type="body" idx="3"/>
          </p:nvPr>
        </p:nvSpPr>
        <p:spPr>
          <a:xfrm>
            <a:off x="4256641" y="2249106"/>
            <a:ext cx="3663950" cy="4556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spcBef>
                <a:spcPts val="0"/>
              </a:spcBef>
              <a:spcAft>
                <a:spcPts val="0"/>
              </a:spcAft>
              <a:buSzPts val="1400"/>
              <a:buNone/>
              <a:defRPr sz="1400" b="1">
                <a:solidFill>
                  <a:srgbClr val="FFFFFF"/>
                </a:solidFill>
              </a:defRPr>
            </a:lvl1pPr>
            <a:lvl2pPr marL="914400" lvl="1" indent="-228600" algn="ctr">
              <a:spcBef>
                <a:spcPts val="350"/>
              </a:spcBef>
              <a:spcAft>
                <a:spcPts val="0"/>
              </a:spcAft>
              <a:buSzPts val="1600"/>
              <a:buNone/>
              <a:defRPr sz="1600" b="1">
                <a:solidFill>
                  <a:srgbClr val="FFFFFF"/>
                </a:solidFill>
              </a:defRPr>
            </a:lvl2pPr>
            <a:lvl3pPr marL="1371600" lvl="2" indent="-228600" algn="ctr">
              <a:spcBef>
                <a:spcPts val="400"/>
              </a:spcBef>
              <a:spcAft>
                <a:spcPts val="0"/>
              </a:spcAft>
              <a:buSzPts val="1600"/>
              <a:buFont typeface="Arial"/>
              <a:buNone/>
              <a:defRPr sz="1600" b="1">
                <a:solidFill>
                  <a:srgbClr val="FFFFFF"/>
                </a:solidFill>
              </a:defRPr>
            </a:lvl3pPr>
            <a:lvl4pPr marL="1828800" lvl="3" indent="-228600" algn="ctr">
              <a:spcBef>
                <a:spcPts val="400"/>
              </a:spcBef>
              <a:spcAft>
                <a:spcPts val="0"/>
              </a:spcAft>
              <a:buSzPts val="1600"/>
              <a:buNone/>
              <a:defRPr sz="1600" b="1">
                <a:solidFill>
                  <a:srgbClr val="FFFFFF"/>
                </a:solidFill>
              </a:defRPr>
            </a:lvl4pPr>
            <a:lvl5pPr marL="2286000" lvl="4" indent="-228600" algn="ctr">
              <a:spcBef>
                <a:spcPts val="400"/>
              </a:spcBef>
              <a:spcAft>
                <a:spcPts val="0"/>
              </a:spcAft>
              <a:buSzPts val="1600"/>
              <a:buFont typeface="Arial"/>
              <a:buNone/>
              <a:defRPr sz="1600" b="1">
                <a:solidFill>
                  <a:srgbClr val="FFFFFF"/>
                </a:solidFill>
              </a:defRPr>
            </a:lvl5pPr>
            <a:lvl6pPr marL="2743200" lvl="5" indent="-342900" algn="l">
              <a:spcBef>
                <a:spcPts val="4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2" name="Google Shape;282;p49"/>
          <p:cNvSpPr txBox="1">
            <a:spLocks noGrp="1"/>
          </p:cNvSpPr>
          <p:nvPr>
            <p:ph type="body" idx="4"/>
          </p:nvPr>
        </p:nvSpPr>
        <p:spPr>
          <a:xfrm>
            <a:off x="8003693" y="2249106"/>
            <a:ext cx="3663950" cy="4556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spcBef>
                <a:spcPts val="0"/>
              </a:spcBef>
              <a:spcAft>
                <a:spcPts val="0"/>
              </a:spcAft>
              <a:buSzPts val="1400"/>
              <a:buNone/>
              <a:defRPr sz="1400" b="1">
                <a:solidFill>
                  <a:srgbClr val="FFFFFF"/>
                </a:solidFill>
              </a:defRPr>
            </a:lvl1pPr>
            <a:lvl2pPr marL="914400" lvl="1" indent="-228600" algn="ctr">
              <a:spcBef>
                <a:spcPts val="350"/>
              </a:spcBef>
              <a:spcAft>
                <a:spcPts val="0"/>
              </a:spcAft>
              <a:buSzPts val="1600"/>
              <a:buNone/>
              <a:defRPr sz="1600" b="1">
                <a:solidFill>
                  <a:srgbClr val="FFFFFF"/>
                </a:solidFill>
              </a:defRPr>
            </a:lvl2pPr>
            <a:lvl3pPr marL="1371600" lvl="2" indent="-228600" algn="ctr">
              <a:spcBef>
                <a:spcPts val="400"/>
              </a:spcBef>
              <a:spcAft>
                <a:spcPts val="0"/>
              </a:spcAft>
              <a:buSzPts val="1600"/>
              <a:buFont typeface="Arial"/>
              <a:buNone/>
              <a:defRPr sz="1600" b="1">
                <a:solidFill>
                  <a:srgbClr val="FFFFFF"/>
                </a:solidFill>
              </a:defRPr>
            </a:lvl3pPr>
            <a:lvl4pPr marL="1828800" lvl="3" indent="-228600" algn="ctr">
              <a:spcBef>
                <a:spcPts val="400"/>
              </a:spcBef>
              <a:spcAft>
                <a:spcPts val="0"/>
              </a:spcAft>
              <a:buSzPts val="1600"/>
              <a:buNone/>
              <a:defRPr sz="1600" b="1">
                <a:solidFill>
                  <a:srgbClr val="FFFFFF"/>
                </a:solidFill>
              </a:defRPr>
            </a:lvl4pPr>
            <a:lvl5pPr marL="2286000" lvl="4" indent="-228600" algn="ctr">
              <a:spcBef>
                <a:spcPts val="400"/>
              </a:spcBef>
              <a:spcAft>
                <a:spcPts val="0"/>
              </a:spcAft>
              <a:buSzPts val="1600"/>
              <a:buFont typeface="Arial"/>
              <a:buNone/>
              <a:defRPr sz="1600" b="1">
                <a:solidFill>
                  <a:srgbClr val="FFFFFF"/>
                </a:solidFill>
              </a:defRPr>
            </a:lvl5pPr>
            <a:lvl6pPr marL="2743200" lvl="5" indent="-342900" algn="l">
              <a:spcBef>
                <a:spcPts val="4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3" name="Google Shape;283;p49"/>
          <p:cNvSpPr txBox="1">
            <a:spLocks noGrp="1"/>
          </p:cNvSpPr>
          <p:nvPr>
            <p:ph type="body" idx="5"/>
          </p:nvPr>
        </p:nvSpPr>
        <p:spPr>
          <a:xfrm>
            <a:off x="762000" y="2985705"/>
            <a:ext cx="3200400" cy="24363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100"/>
              <a:buNone/>
              <a:defRPr sz="1100">
                <a:solidFill>
                  <a:schemeClr val="dk1"/>
                </a:solidFill>
              </a:defRPr>
            </a:lvl1pPr>
            <a:lvl2pPr marL="914400" lvl="1" indent="-228600" algn="l">
              <a:spcBef>
                <a:spcPts val="275"/>
              </a:spcBef>
              <a:spcAft>
                <a:spcPts val="0"/>
              </a:spcAft>
              <a:buSzPts val="1100"/>
              <a:buNone/>
              <a:defRPr sz="1100">
                <a:solidFill>
                  <a:schemeClr val="dk1"/>
                </a:solidFill>
              </a:defRPr>
            </a:lvl2pPr>
            <a:lvl3pPr marL="1371600" lvl="2" indent="-228600" algn="l">
              <a:spcBef>
                <a:spcPts val="275"/>
              </a:spcBef>
              <a:spcAft>
                <a:spcPts val="0"/>
              </a:spcAft>
              <a:buSzPts val="1100"/>
              <a:buFont typeface="Arial"/>
              <a:buNone/>
              <a:defRPr sz="1100">
                <a:solidFill>
                  <a:schemeClr val="dk1"/>
                </a:solidFill>
              </a:defRPr>
            </a:lvl3pPr>
            <a:lvl4pPr marL="1828800" lvl="3" indent="-228600" algn="l">
              <a:spcBef>
                <a:spcPts val="275"/>
              </a:spcBef>
              <a:spcAft>
                <a:spcPts val="0"/>
              </a:spcAft>
              <a:buSzPts val="1100"/>
              <a:buNone/>
              <a:defRPr sz="1100">
                <a:solidFill>
                  <a:schemeClr val="dk1"/>
                </a:solidFill>
              </a:defRPr>
            </a:lvl4pPr>
            <a:lvl5pPr marL="2286000" lvl="4" indent="-228600" algn="l">
              <a:spcBef>
                <a:spcPts val="275"/>
              </a:spcBef>
              <a:spcAft>
                <a:spcPts val="0"/>
              </a:spcAft>
              <a:buSzPts val="1100"/>
              <a:buFont typeface="Arial"/>
              <a:buNone/>
              <a:defRPr sz="1100">
                <a:solidFill>
                  <a:schemeClr val="dk1"/>
                </a:solidFill>
              </a:defRPr>
            </a:lvl5pPr>
            <a:lvl6pPr marL="2743200" lvl="5" indent="-342900" algn="l">
              <a:spcBef>
                <a:spcPts val="275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4" name="Google Shape;284;p49"/>
          <p:cNvSpPr txBox="1">
            <a:spLocks noGrp="1"/>
          </p:cNvSpPr>
          <p:nvPr>
            <p:ph type="body" idx="6"/>
          </p:nvPr>
        </p:nvSpPr>
        <p:spPr>
          <a:xfrm>
            <a:off x="4509052" y="2985705"/>
            <a:ext cx="3200400" cy="24363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100"/>
              <a:buNone/>
              <a:defRPr sz="1100">
                <a:solidFill>
                  <a:schemeClr val="dk1"/>
                </a:solidFill>
              </a:defRPr>
            </a:lvl1pPr>
            <a:lvl2pPr marL="914400" lvl="1" indent="-228600" algn="l">
              <a:spcBef>
                <a:spcPts val="275"/>
              </a:spcBef>
              <a:spcAft>
                <a:spcPts val="0"/>
              </a:spcAft>
              <a:buSzPts val="1100"/>
              <a:buNone/>
              <a:defRPr sz="1100">
                <a:solidFill>
                  <a:schemeClr val="dk1"/>
                </a:solidFill>
              </a:defRPr>
            </a:lvl2pPr>
            <a:lvl3pPr marL="1371600" lvl="2" indent="-228600" algn="l">
              <a:spcBef>
                <a:spcPts val="275"/>
              </a:spcBef>
              <a:spcAft>
                <a:spcPts val="0"/>
              </a:spcAft>
              <a:buSzPts val="1100"/>
              <a:buFont typeface="Arial"/>
              <a:buNone/>
              <a:defRPr sz="1100">
                <a:solidFill>
                  <a:schemeClr val="dk1"/>
                </a:solidFill>
              </a:defRPr>
            </a:lvl3pPr>
            <a:lvl4pPr marL="1828800" lvl="3" indent="-228600" algn="l">
              <a:spcBef>
                <a:spcPts val="275"/>
              </a:spcBef>
              <a:spcAft>
                <a:spcPts val="0"/>
              </a:spcAft>
              <a:buSzPts val="1100"/>
              <a:buNone/>
              <a:defRPr sz="1100">
                <a:solidFill>
                  <a:schemeClr val="dk1"/>
                </a:solidFill>
              </a:defRPr>
            </a:lvl4pPr>
            <a:lvl5pPr marL="2286000" lvl="4" indent="-228600" algn="l">
              <a:spcBef>
                <a:spcPts val="275"/>
              </a:spcBef>
              <a:spcAft>
                <a:spcPts val="0"/>
              </a:spcAft>
              <a:buSzPts val="1100"/>
              <a:buFont typeface="Arial"/>
              <a:buNone/>
              <a:defRPr sz="1100">
                <a:solidFill>
                  <a:schemeClr val="dk1"/>
                </a:solidFill>
              </a:defRPr>
            </a:lvl5pPr>
            <a:lvl6pPr marL="2743200" lvl="5" indent="-342900" algn="l">
              <a:spcBef>
                <a:spcPts val="275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5" name="Google Shape;285;p49"/>
          <p:cNvSpPr txBox="1">
            <a:spLocks noGrp="1"/>
          </p:cNvSpPr>
          <p:nvPr>
            <p:ph type="body" idx="7"/>
          </p:nvPr>
        </p:nvSpPr>
        <p:spPr>
          <a:xfrm>
            <a:off x="8246165" y="2985705"/>
            <a:ext cx="3200400" cy="24363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100"/>
              <a:buNone/>
              <a:defRPr sz="1100">
                <a:solidFill>
                  <a:schemeClr val="dk1"/>
                </a:solidFill>
              </a:defRPr>
            </a:lvl1pPr>
            <a:lvl2pPr marL="914400" lvl="1" indent="-228600" algn="l">
              <a:spcBef>
                <a:spcPts val="275"/>
              </a:spcBef>
              <a:spcAft>
                <a:spcPts val="0"/>
              </a:spcAft>
              <a:buSzPts val="1100"/>
              <a:buNone/>
              <a:defRPr sz="1100">
                <a:solidFill>
                  <a:schemeClr val="dk1"/>
                </a:solidFill>
              </a:defRPr>
            </a:lvl2pPr>
            <a:lvl3pPr marL="1371600" lvl="2" indent="-228600" algn="l">
              <a:spcBef>
                <a:spcPts val="275"/>
              </a:spcBef>
              <a:spcAft>
                <a:spcPts val="0"/>
              </a:spcAft>
              <a:buSzPts val="1100"/>
              <a:buFont typeface="Arial"/>
              <a:buNone/>
              <a:defRPr sz="1100">
                <a:solidFill>
                  <a:schemeClr val="dk1"/>
                </a:solidFill>
              </a:defRPr>
            </a:lvl3pPr>
            <a:lvl4pPr marL="1828800" lvl="3" indent="-228600" algn="l">
              <a:spcBef>
                <a:spcPts val="275"/>
              </a:spcBef>
              <a:spcAft>
                <a:spcPts val="0"/>
              </a:spcAft>
              <a:buSzPts val="1100"/>
              <a:buNone/>
              <a:defRPr sz="1100">
                <a:solidFill>
                  <a:schemeClr val="dk1"/>
                </a:solidFill>
              </a:defRPr>
            </a:lvl4pPr>
            <a:lvl5pPr marL="2286000" lvl="4" indent="-228600" algn="l">
              <a:spcBef>
                <a:spcPts val="275"/>
              </a:spcBef>
              <a:spcAft>
                <a:spcPts val="0"/>
              </a:spcAft>
              <a:buSzPts val="1100"/>
              <a:buFont typeface="Arial"/>
              <a:buNone/>
              <a:defRPr sz="1100">
                <a:solidFill>
                  <a:schemeClr val="dk1"/>
                </a:solidFill>
              </a:defRPr>
            </a:lvl5pPr>
            <a:lvl6pPr marL="2743200" lvl="5" indent="-342900" algn="l">
              <a:spcBef>
                <a:spcPts val="275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6" name="Google Shape;286;p49"/>
          <p:cNvSpPr txBox="1">
            <a:spLocks noGrp="1"/>
          </p:cNvSpPr>
          <p:nvPr>
            <p:ph type="title"/>
          </p:nvPr>
        </p:nvSpPr>
        <p:spPr>
          <a:xfrm>
            <a:off x="542926" y="1202705"/>
            <a:ext cx="11172864" cy="81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accent1"/>
                </a:solidFill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" name="Google Shape;40;p32">
            <a:extLst>
              <a:ext uri="{FF2B5EF4-FFF2-40B4-BE49-F238E27FC236}">
                <a16:creationId xmlns:a16="http://schemas.microsoft.com/office/drawing/2014/main" id="{4EDB6876-4705-BCA7-0A29-FC8B3108C06B}"/>
              </a:ext>
            </a:extLst>
          </p:cNvPr>
          <p:cNvSpPr txBox="1"/>
          <p:nvPr userDrawn="1"/>
        </p:nvSpPr>
        <p:spPr>
          <a:xfrm>
            <a:off x="516835" y="6334236"/>
            <a:ext cx="3550340" cy="2974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None/>
            </a:pPr>
            <a:r>
              <a:rPr lang="ru-RU" sz="12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ЗоРРО</a:t>
            </a:r>
            <a:r>
              <a:rPr lang="ru-RU" sz="1200" b="1" i="0" u="none" strike="noStrike" cap="none" baseline="30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® </a:t>
            </a:r>
            <a:r>
              <a:rPr lang="de-CH" sz="1200" b="1" i="0" u="none" strike="noStrike" cap="none" baseline="30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2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024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| Internal Use Only</a:t>
            </a:r>
            <a:endParaRPr b="0" dirty="0"/>
          </a:p>
        </p:txBody>
      </p:sp>
      <p:pic>
        <p:nvPicPr>
          <p:cNvPr id="3" name="Google Shape;53;p32">
            <a:extLst>
              <a:ext uri="{FF2B5EF4-FFF2-40B4-BE49-F238E27FC236}">
                <a16:creationId xmlns:a16="http://schemas.microsoft.com/office/drawing/2014/main" id="{CE0C300C-0C50-A9C8-89F5-194BEE957656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0566400" y="6399249"/>
            <a:ext cx="1205930" cy="16552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4" name="Google Shape;54;p32">
            <a:extLst>
              <a:ext uri="{FF2B5EF4-FFF2-40B4-BE49-F238E27FC236}">
                <a16:creationId xmlns:a16="http://schemas.microsoft.com/office/drawing/2014/main" id="{5EE8BEC6-EB88-72E3-8CF7-5FC98581E21D}"/>
              </a:ext>
            </a:extLst>
          </p:cNvPr>
          <p:cNvCxnSpPr>
            <a:cxnSpLocks/>
          </p:cNvCxnSpPr>
          <p:nvPr userDrawn="1"/>
        </p:nvCxnSpPr>
        <p:spPr>
          <a:xfrm>
            <a:off x="3743325" y="6492239"/>
            <a:ext cx="6630035" cy="0"/>
          </a:xfrm>
          <a:prstGeom prst="straightConnector1">
            <a:avLst/>
          </a:prstGeom>
          <a:solidFill>
            <a:schemeClr val="accent2"/>
          </a:solidFill>
          <a:ln w="19050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ABF717AF-A982-3ADF-656F-EE88C505279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42926" y="397563"/>
            <a:ext cx="1573333" cy="418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5994968"/>
      </p:ext>
    </p:extLst>
  </p:cSld>
  <p:clrMapOvr>
    <a:masterClrMapping/>
  </p:clrMapOvr>
  <p:transition>
    <p:wipe dir="r"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3 contents" preserve="1" userDrawn="1">
  <p:cSld name="1_Title + 3 contents">
    <p:bg>
      <p:bgPr>
        <a:solidFill>
          <a:schemeClr val="dk2"/>
        </a:solidFill>
        <a:effectLst/>
      </p:bgPr>
    </p:bg>
    <p:spTree>
      <p:nvGrpSpPr>
        <p:cNvPr id="1" name="Shape 2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7" name="Google Shape;267;p49"/>
          <p:cNvSpPr txBox="1">
            <a:spLocks noGrp="1"/>
          </p:cNvSpPr>
          <p:nvPr>
            <p:ph type="sldNum" idx="12"/>
          </p:nvPr>
        </p:nvSpPr>
        <p:spPr>
          <a:xfrm>
            <a:off x="10512506" y="375991"/>
            <a:ext cx="1259824" cy="20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71" name="Google Shape;271;p49"/>
          <p:cNvSpPr/>
          <p:nvPr/>
        </p:nvSpPr>
        <p:spPr>
          <a:xfrm>
            <a:off x="4264971" y="1962171"/>
            <a:ext cx="3663763" cy="3553249"/>
          </a:xfrm>
          <a:prstGeom prst="roundRect">
            <a:avLst>
              <a:gd name="adj" fmla="val 1986"/>
            </a:avLst>
          </a:prstGeom>
          <a:solidFill>
            <a:srgbClr val="FFFFFF"/>
          </a:solidFill>
          <a:ln>
            <a:noFill/>
          </a:ln>
          <a:effectLst>
            <a:outerShdw blurRad="133740" dist="38100" dir="2700000" algn="tl" rotWithShape="0">
              <a:schemeClr val="dk1">
                <a:alpha val="7843"/>
              </a:schemeClr>
            </a:outerShdw>
          </a:effectLst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2" name="Google Shape;272;p49"/>
          <p:cNvSpPr/>
          <p:nvPr/>
        </p:nvSpPr>
        <p:spPr>
          <a:xfrm>
            <a:off x="8009657" y="1962171"/>
            <a:ext cx="3663763" cy="3553249"/>
          </a:xfrm>
          <a:prstGeom prst="roundRect">
            <a:avLst>
              <a:gd name="adj" fmla="val 1986"/>
            </a:avLst>
          </a:prstGeom>
          <a:solidFill>
            <a:srgbClr val="FFFFFF"/>
          </a:solidFill>
          <a:ln>
            <a:noFill/>
          </a:ln>
          <a:effectLst>
            <a:outerShdw blurRad="133740" dist="38100" dir="2700000" algn="tl" rotWithShape="0">
              <a:schemeClr val="dk1">
                <a:alpha val="7843"/>
              </a:schemeClr>
            </a:outerShdw>
          </a:effectLst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3" name="Google Shape;273;p49"/>
          <p:cNvSpPr/>
          <p:nvPr/>
        </p:nvSpPr>
        <p:spPr>
          <a:xfrm>
            <a:off x="509400" y="1962171"/>
            <a:ext cx="3663763" cy="3553249"/>
          </a:xfrm>
          <a:prstGeom prst="roundRect">
            <a:avLst>
              <a:gd name="adj" fmla="val 1986"/>
            </a:avLst>
          </a:prstGeom>
          <a:solidFill>
            <a:srgbClr val="FFFFFF"/>
          </a:solidFill>
          <a:ln>
            <a:noFill/>
          </a:ln>
          <a:effectLst>
            <a:outerShdw blurRad="133740" dist="38100" dir="2700000" algn="tl" rotWithShape="0">
              <a:schemeClr val="dk1">
                <a:alpha val="7843"/>
              </a:schemeClr>
            </a:outerShdw>
          </a:effectLst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4" name="Google Shape;274;p49"/>
          <p:cNvSpPr/>
          <p:nvPr/>
        </p:nvSpPr>
        <p:spPr>
          <a:xfrm>
            <a:off x="509401" y="1962171"/>
            <a:ext cx="3663763" cy="455283"/>
          </a:xfrm>
          <a:prstGeom prst="roundRect">
            <a:avLst>
              <a:gd name="adj" fmla="val 4818"/>
            </a:avLst>
          </a:prstGeom>
          <a:solidFill>
            <a:srgbClr val="00389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5" name="Google Shape;275;p49"/>
          <p:cNvSpPr/>
          <p:nvPr/>
        </p:nvSpPr>
        <p:spPr>
          <a:xfrm>
            <a:off x="4264277" y="1962171"/>
            <a:ext cx="3663763" cy="455283"/>
          </a:xfrm>
          <a:prstGeom prst="roundRect">
            <a:avLst>
              <a:gd name="adj" fmla="val 4818"/>
            </a:avLst>
          </a:prstGeom>
          <a:solidFill>
            <a:srgbClr val="0B71FF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6" name="Google Shape;276;p49"/>
          <p:cNvSpPr/>
          <p:nvPr/>
        </p:nvSpPr>
        <p:spPr>
          <a:xfrm>
            <a:off x="8019153" y="1962171"/>
            <a:ext cx="3663763" cy="455283"/>
          </a:xfrm>
          <a:prstGeom prst="roundRect">
            <a:avLst>
              <a:gd name="adj" fmla="val 4818"/>
            </a:avLst>
          </a:prstGeom>
          <a:solidFill>
            <a:srgbClr val="85AEFF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7" name="Google Shape;277;p49"/>
          <p:cNvSpPr txBox="1"/>
          <p:nvPr/>
        </p:nvSpPr>
        <p:spPr>
          <a:xfrm>
            <a:off x="509400" y="1962171"/>
            <a:ext cx="3663765" cy="4474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1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8" name="Google Shape;278;p49"/>
          <p:cNvSpPr txBox="1"/>
          <p:nvPr/>
        </p:nvSpPr>
        <p:spPr>
          <a:xfrm>
            <a:off x="4254549" y="1962171"/>
            <a:ext cx="3663765" cy="4474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1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9" name="Google Shape;279;p49"/>
          <p:cNvSpPr txBox="1"/>
          <p:nvPr/>
        </p:nvSpPr>
        <p:spPr>
          <a:xfrm>
            <a:off x="8019154" y="1962171"/>
            <a:ext cx="3663765" cy="4474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1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0" name="Google Shape;280;p49"/>
          <p:cNvSpPr txBox="1">
            <a:spLocks noGrp="1"/>
          </p:cNvSpPr>
          <p:nvPr>
            <p:ph type="body" idx="2"/>
          </p:nvPr>
        </p:nvSpPr>
        <p:spPr>
          <a:xfrm>
            <a:off x="509588" y="1961503"/>
            <a:ext cx="3663950" cy="4556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spcBef>
                <a:spcPts val="0"/>
              </a:spcBef>
              <a:spcAft>
                <a:spcPts val="0"/>
              </a:spcAft>
              <a:buSzPts val="1400"/>
              <a:buNone/>
              <a:defRPr sz="1400" b="1">
                <a:solidFill>
                  <a:srgbClr val="FFFFFF"/>
                </a:solidFill>
              </a:defRPr>
            </a:lvl1pPr>
            <a:lvl2pPr marL="914400" lvl="1" indent="-228600" algn="ctr">
              <a:spcBef>
                <a:spcPts val="350"/>
              </a:spcBef>
              <a:spcAft>
                <a:spcPts val="0"/>
              </a:spcAft>
              <a:buSzPts val="1600"/>
              <a:buNone/>
              <a:defRPr sz="1600" b="1">
                <a:solidFill>
                  <a:srgbClr val="FFFFFF"/>
                </a:solidFill>
              </a:defRPr>
            </a:lvl2pPr>
            <a:lvl3pPr marL="1371600" lvl="2" indent="-228600" algn="ctr">
              <a:spcBef>
                <a:spcPts val="400"/>
              </a:spcBef>
              <a:spcAft>
                <a:spcPts val="0"/>
              </a:spcAft>
              <a:buSzPts val="1600"/>
              <a:buFont typeface="Arial"/>
              <a:buNone/>
              <a:defRPr sz="1600" b="1">
                <a:solidFill>
                  <a:srgbClr val="FFFFFF"/>
                </a:solidFill>
              </a:defRPr>
            </a:lvl3pPr>
            <a:lvl4pPr marL="1828800" lvl="3" indent="-228600" algn="ctr">
              <a:spcBef>
                <a:spcPts val="400"/>
              </a:spcBef>
              <a:spcAft>
                <a:spcPts val="0"/>
              </a:spcAft>
              <a:buSzPts val="1600"/>
              <a:buNone/>
              <a:defRPr sz="1600" b="1">
                <a:solidFill>
                  <a:srgbClr val="FFFFFF"/>
                </a:solidFill>
              </a:defRPr>
            </a:lvl4pPr>
            <a:lvl5pPr marL="2286000" lvl="4" indent="-228600" algn="ctr">
              <a:spcBef>
                <a:spcPts val="400"/>
              </a:spcBef>
              <a:spcAft>
                <a:spcPts val="0"/>
              </a:spcAft>
              <a:buSzPts val="1600"/>
              <a:buFont typeface="Arial"/>
              <a:buNone/>
              <a:defRPr sz="1600" b="1">
                <a:solidFill>
                  <a:srgbClr val="FFFFFF"/>
                </a:solidFill>
              </a:defRPr>
            </a:lvl5pPr>
            <a:lvl6pPr marL="2743200" lvl="5" indent="-342900" algn="l">
              <a:spcBef>
                <a:spcPts val="4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 dirty="0"/>
          </a:p>
        </p:txBody>
      </p:sp>
      <p:sp>
        <p:nvSpPr>
          <p:cNvPr id="281" name="Google Shape;281;p49"/>
          <p:cNvSpPr txBox="1">
            <a:spLocks noGrp="1"/>
          </p:cNvSpPr>
          <p:nvPr>
            <p:ph type="body" idx="3"/>
          </p:nvPr>
        </p:nvSpPr>
        <p:spPr>
          <a:xfrm>
            <a:off x="4256641" y="1961503"/>
            <a:ext cx="3663950" cy="4556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spcBef>
                <a:spcPts val="0"/>
              </a:spcBef>
              <a:spcAft>
                <a:spcPts val="0"/>
              </a:spcAft>
              <a:buSzPts val="1400"/>
              <a:buNone/>
              <a:defRPr sz="1400" b="1">
                <a:solidFill>
                  <a:srgbClr val="FFFFFF"/>
                </a:solidFill>
              </a:defRPr>
            </a:lvl1pPr>
            <a:lvl2pPr marL="914400" lvl="1" indent="-228600" algn="ctr">
              <a:spcBef>
                <a:spcPts val="350"/>
              </a:spcBef>
              <a:spcAft>
                <a:spcPts val="0"/>
              </a:spcAft>
              <a:buSzPts val="1600"/>
              <a:buNone/>
              <a:defRPr sz="1600" b="1">
                <a:solidFill>
                  <a:srgbClr val="FFFFFF"/>
                </a:solidFill>
              </a:defRPr>
            </a:lvl2pPr>
            <a:lvl3pPr marL="1371600" lvl="2" indent="-228600" algn="ctr">
              <a:spcBef>
                <a:spcPts val="400"/>
              </a:spcBef>
              <a:spcAft>
                <a:spcPts val="0"/>
              </a:spcAft>
              <a:buSzPts val="1600"/>
              <a:buFont typeface="Arial"/>
              <a:buNone/>
              <a:defRPr sz="1600" b="1">
                <a:solidFill>
                  <a:srgbClr val="FFFFFF"/>
                </a:solidFill>
              </a:defRPr>
            </a:lvl3pPr>
            <a:lvl4pPr marL="1828800" lvl="3" indent="-228600" algn="ctr">
              <a:spcBef>
                <a:spcPts val="400"/>
              </a:spcBef>
              <a:spcAft>
                <a:spcPts val="0"/>
              </a:spcAft>
              <a:buSzPts val="1600"/>
              <a:buNone/>
              <a:defRPr sz="1600" b="1">
                <a:solidFill>
                  <a:srgbClr val="FFFFFF"/>
                </a:solidFill>
              </a:defRPr>
            </a:lvl4pPr>
            <a:lvl5pPr marL="2286000" lvl="4" indent="-228600" algn="ctr">
              <a:spcBef>
                <a:spcPts val="400"/>
              </a:spcBef>
              <a:spcAft>
                <a:spcPts val="0"/>
              </a:spcAft>
              <a:buSzPts val="1600"/>
              <a:buFont typeface="Arial"/>
              <a:buNone/>
              <a:defRPr sz="1600" b="1">
                <a:solidFill>
                  <a:srgbClr val="FFFFFF"/>
                </a:solidFill>
              </a:defRPr>
            </a:lvl5pPr>
            <a:lvl6pPr marL="2743200" lvl="5" indent="-342900" algn="l">
              <a:spcBef>
                <a:spcPts val="4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2" name="Google Shape;282;p49"/>
          <p:cNvSpPr txBox="1">
            <a:spLocks noGrp="1"/>
          </p:cNvSpPr>
          <p:nvPr>
            <p:ph type="body" idx="4"/>
          </p:nvPr>
        </p:nvSpPr>
        <p:spPr>
          <a:xfrm>
            <a:off x="8003693" y="1961503"/>
            <a:ext cx="3663950" cy="4556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spcBef>
                <a:spcPts val="0"/>
              </a:spcBef>
              <a:spcAft>
                <a:spcPts val="0"/>
              </a:spcAft>
              <a:buSzPts val="1400"/>
              <a:buNone/>
              <a:defRPr sz="1400" b="1">
                <a:solidFill>
                  <a:srgbClr val="FFFFFF"/>
                </a:solidFill>
              </a:defRPr>
            </a:lvl1pPr>
            <a:lvl2pPr marL="914400" lvl="1" indent="-228600" algn="ctr">
              <a:spcBef>
                <a:spcPts val="350"/>
              </a:spcBef>
              <a:spcAft>
                <a:spcPts val="0"/>
              </a:spcAft>
              <a:buSzPts val="1600"/>
              <a:buNone/>
              <a:defRPr sz="1600" b="1">
                <a:solidFill>
                  <a:srgbClr val="FFFFFF"/>
                </a:solidFill>
              </a:defRPr>
            </a:lvl2pPr>
            <a:lvl3pPr marL="1371600" lvl="2" indent="-228600" algn="ctr">
              <a:spcBef>
                <a:spcPts val="400"/>
              </a:spcBef>
              <a:spcAft>
                <a:spcPts val="0"/>
              </a:spcAft>
              <a:buSzPts val="1600"/>
              <a:buFont typeface="Arial"/>
              <a:buNone/>
              <a:defRPr sz="1600" b="1">
                <a:solidFill>
                  <a:srgbClr val="FFFFFF"/>
                </a:solidFill>
              </a:defRPr>
            </a:lvl3pPr>
            <a:lvl4pPr marL="1828800" lvl="3" indent="-228600" algn="ctr">
              <a:spcBef>
                <a:spcPts val="400"/>
              </a:spcBef>
              <a:spcAft>
                <a:spcPts val="0"/>
              </a:spcAft>
              <a:buSzPts val="1600"/>
              <a:buNone/>
              <a:defRPr sz="1600" b="1">
                <a:solidFill>
                  <a:srgbClr val="FFFFFF"/>
                </a:solidFill>
              </a:defRPr>
            </a:lvl4pPr>
            <a:lvl5pPr marL="2286000" lvl="4" indent="-228600" algn="ctr">
              <a:spcBef>
                <a:spcPts val="400"/>
              </a:spcBef>
              <a:spcAft>
                <a:spcPts val="0"/>
              </a:spcAft>
              <a:buSzPts val="1600"/>
              <a:buFont typeface="Arial"/>
              <a:buNone/>
              <a:defRPr sz="1600" b="1">
                <a:solidFill>
                  <a:srgbClr val="FFFFFF"/>
                </a:solidFill>
              </a:defRPr>
            </a:lvl5pPr>
            <a:lvl6pPr marL="2743200" lvl="5" indent="-342900" algn="l">
              <a:spcBef>
                <a:spcPts val="4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3" name="Google Shape;283;p49"/>
          <p:cNvSpPr txBox="1">
            <a:spLocks noGrp="1"/>
          </p:cNvSpPr>
          <p:nvPr>
            <p:ph type="body" idx="5"/>
          </p:nvPr>
        </p:nvSpPr>
        <p:spPr>
          <a:xfrm>
            <a:off x="762000" y="2698102"/>
            <a:ext cx="3200400" cy="24363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100"/>
              <a:buNone/>
              <a:defRPr sz="1100">
                <a:solidFill>
                  <a:schemeClr val="dk1"/>
                </a:solidFill>
              </a:defRPr>
            </a:lvl1pPr>
            <a:lvl2pPr marL="914400" lvl="1" indent="-228600" algn="l">
              <a:spcBef>
                <a:spcPts val="275"/>
              </a:spcBef>
              <a:spcAft>
                <a:spcPts val="0"/>
              </a:spcAft>
              <a:buSzPts val="1100"/>
              <a:buNone/>
              <a:defRPr sz="1100">
                <a:solidFill>
                  <a:schemeClr val="dk1"/>
                </a:solidFill>
              </a:defRPr>
            </a:lvl2pPr>
            <a:lvl3pPr marL="1371600" lvl="2" indent="-228600" algn="l">
              <a:spcBef>
                <a:spcPts val="275"/>
              </a:spcBef>
              <a:spcAft>
                <a:spcPts val="0"/>
              </a:spcAft>
              <a:buSzPts val="1100"/>
              <a:buFont typeface="Arial"/>
              <a:buNone/>
              <a:defRPr sz="1100">
                <a:solidFill>
                  <a:schemeClr val="dk1"/>
                </a:solidFill>
              </a:defRPr>
            </a:lvl3pPr>
            <a:lvl4pPr marL="1828800" lvl="3" indent="-228600" algn="l">
              <a:spcBef>
                <a:spcPts val="275"/>
              </a:spcBef>
              <a:spcAft>
                <a:spcPts val="0"/>
              </a:spcAft>
              <a:buSzPts val="1100"/>
              <a:buNone/>
              <a:defRPr sz="1100">
                <a:solidFill>
                  <a:schemeClr val="dk1"/>
                </a:solidFill>
              </a:defRPr>
            </a:lvl4pPr>
            <a:lvl5pPr marL="2286000" lvl="4" indent="-228600" algn="l">
              <a:spcBef>
                <a:spcPts val="275"/>
              </a:spcBef>
              <a:spcAft>
                <a:spcPts val="0"/>
              </a:spcAft>
              <a:buSzPts val="1100"/>
              <a:buFont typeface="Arial"/>
              <a:buNone/>
              <a:defRPr sz="1100">
                <a:solidFill>
                  <a:schemeClr val="dk1"/>
                </a:solidFill>
              </a:defRPr>
            </a:lvl5pPr>
            <a:lvl6pPr marL="2743200" lvl="5" indent="-342900" algn="l">
              <a:spcBef>
                <a:spcPts val="275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4" name="Google Shape;284;p49"/>
          <p:cNvSpPr txBox="1">
            <a:spLocks noGrp="1"/>
          </p:cNvSpPr>
          <p:nvPr>
            <p:ph type="body" idx="6"/>
          </p:nvPr>
        </p:nvSpPr>
        <p:spPr>
          <a:xfrm>
            <a:off x="4509052" y="2698102"/>
            <a:ext cx="3200400" cy="24363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100"/>
              <a:buNone/>
              <a:defRPr sz="1100">
                <a:solidFill>
                  <a:schemeClr val="dk1"/>
                </a:solidFill>
              </a:defRPr>
            </a:lvl1pPr>
            <a:lvl2pPr marL="914400" lvl="1" indent="-228600" algn="l">
              <a:spcBef>
                <a:spcPts val="275"/>
              </a:spcBef>
              <a:spcAft>
                <a:spcPts val="0"/>
              </a:spcAft>
              <a:buSzPts val="1100"/>
              <a:buNone/>
              <a:defRPr sz="1100">
                <a:solidFill>
                  <a:schemeClr val="dk1"/>
                </a:solidFill>
              </a:defRPr>
            </a:lvl2pPr>
            <a:lvl3pPr marL="1371600" lvl="2" indent="-228600" algn="l">
              <a:spcBef>
                <a:spcPts val="275"/>
              </a:spcBef>
              <a:spcAft>
                <a:spcPts val="0"/>
              </a:spcAft>
              <a:buSzPts val="1100"/>
              <a:buFont typeface="Arial"/>
              <a:buNone/>
              <a:defRPr sz="1100">
                <a:solidFill>
                  <a:schemeClr val="dk1"/>
                </a:solidFill>
              </a:defRPr>
            </a:lvl3pPr>
            <a:lvl4pPr marL="1828800" lvl="3" indent="-228600" algn="l">
              <a:spcBef>
                <a:spcPts val="275"/>
              </a:spcBef>
              <a:spcAft>
                <a:spcPts val="0"/>
              </a:spcAft>
              <a:buSzPts val="1100"/>
              <a:buNone/>
              <a:defRPr sz="1100">
                <a:solidFill>
                  <a:schemeClr val="dk1"/>
                </a:solidFill>
              </a:defRPr>
            </a:lvl4pPr>
            <a:lvl5pPr marL="2286000" lvl="4" indent="-228600" algn="l">
              <a:spcBef>
                <a:spcPts val="275"/>
              </a:spcBef>
              <a:spcAft>
                <a:spcPts val="0"/>
              </a:spcAft>
              <a:buSzPts val="1100"/>
              <a:buFont typeface="Arial"/>
              <a:buNone/>
              <a:defRPr sz="1100">
                <a:solidFill>
                  <a:schemeClr val="dk1"/>
                </a:solidFill>
              </a:defRPr>
            </a:lvl5pPr>
            <a:lvl6pPr marL="2743200" lvl="5" indent="-342900" algn="l">
              <a:spcBef>
                <a:spcPts val="275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5" name="Google Shape;285;p49"/>
          <p:cNvSpPr txBox="1">
            <a:spLocks noGrp="1"/>
          </p:cNvSpPr>
          <p:nvPr>
            <p:ph type="body" idx="7"/>
          </p:nvPr>
        </p:nvSpPr>
        <p:spPr>
          <a:xfrm>
            <a:off x="8246165" y="2698102"/>
            <a:ext cx="3200400" cy="24363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100"/>
              <a:buNone/>
              <a:defRPr sz="1100">
                <a:solidFill>
                  <a:schemeClr val="dk1"/>
                </a:solidFill>
              </a:defRPr>
            </a:lvl1pPr>
            <a:lvl2pPr marL="914400" lvl="1" indent="-228600" algn="l">
              <a:spcBef>
                <a:spcPts val="275"/>
              </a:spcBef>
              <a:spcAft>
                <a:spcPts val="0"/>
              </a:spcAft>
              <a:buSzPts val="1100"/>
              <a:buNone/>
              <a:defRPr sz="1100">
                <a:solidFill>
                  <a:schemeClr val="dk1"/>
                </a:solidFill>
              </a:defRPr>
            </a:lvl2pPr>
            <a:lvl3pPr marL="1371600" lvl="2" indent="-228600" algn="l">
              <a:spcBef>
                <a:spcPts val="275"/>
              </a:spcBef>
              <a:spcAft>
                <a:spcPts val="0"/>
              </a:spcAft>
              <a:buSzPts val="1100"/>
              <a:buFont typeface="Arial"/>
              <a:buNone/>
              <a:defRPr sz="1100">
                <a:solidFill>
                  <a:schemeClr val="dk1"/>
                </a:solidFill>
              </a:defRPr>
            </a:lvl3pPr>
            <a:lvl4pPr marL="1828800" lvl="3" indent="-228600" algn="l">
              <a:spcBef>
                <a:spcPts val="275"/>
              </a:spcBef>
              <a:spcAft>
                <a:spcPts val="0"/>
              </a:spcAft>
              <a:buSzPts val="1100"/>
              <a:buNone/>
              <a:defRPr sz="1100">
                <a:solidFill>
                  <a:schemeClr val="dk1"/>
                </a:solidFill>
              </a:defRPr>
            </a:lvl4pPr>
            <a:lvl5pPr marL="2286000" lvl="4" indent="-228600" algn="l">
              <a:spcBef>
                <a:spcPts val="275"/>
              </a:spcBef>
              <a:spcAft>
                <a:spcPts val="0"/>
              </a:spcAft>
              <a:buSzPts val="1100"/>
              <a:buFont typeface="Arial"/>
              <a:buNone/>
              <a:defRPr sz="1100">
                <a:solidFill>
                  <a:schemeClr val="dk1"/>
                </a:solidFill>
              </a:defRPr>
            </a:lvl5pPr>
            <a:lvl6pPr marL="2743200" lvl="5" indent="-342900" algn="l">
              <a:spcBef>
                <a:spcPts val="275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" name="Google Shape;40;p32">
            <a:extLst>
              <a:ext uri="{FF2B5EF4-FFF2-40B4-BE49-F238E27FC236}">
                <a16:creationId xmlns:a16="http://schemas.microsoft.com/office/drawing/2014/main" id="{3F13DD15-CA3D-A4F9-EB51-8D497C3C1950}"/>
              </a:ext>
            </a:extLst>
          </p:cNvPr>
          <p:cNvSpPr txBox="1"/>
          <p:nvPr userDrawn="1"/>
        </p:nvSpPr>
        <p:spPr>
          <a:xfrm>
            <a:off x="516835" y="6334236"/>
            <a:ext cx="3550340" cy="2974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None/>
            </a:pPr>
            <a:r>
              <a:rPr lang="ru-RU" sz="12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ЗоРРО</a:t>
            </a:r>
            <a:r>
              <a:rPr lang="ru-RU" sz="1200" b="1" i="0" u="none" strike="noStrike" cap="none" baseline="30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® </a:t>
            </a:r>
            <a:r>
              <a:rPr lang="de-CH" sz="1200" b="1" i="0" u="none" strike="noStrike" cap="none" baseline="30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2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024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| Internal Use Only</a:t>
            </a:r>
            <a:endParaRPr b="0" dirty="0"/>
          </a:p>
        </p:txBody>
      </p:sp>
      <p:pic>
        <p:nvPicPr>
          <p:cNvPr id="7" name="Google Shape;53;p32">
            <a:extLst>
              <a:ext uri="{FF2B5EF4-FFF2-40B4-BE49-F238E27FC236}">
                <a16:creationId xmlns:a16="http://schemas.microsoft.com/office/drawing/2014/main" id="{76BEE2CD-9D5F-D829-D675-58DCA452BAF2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0566400" y="6399249"/>
            <a:ext cx="1205930" cy="16552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8" name="Google Shape;54;p32">
            <a:extLst>
              <a:ext uri="{FF2B5EF4-FFF2-40B4-BE49-F238E27FC236}">
                <a16:creationId xmlns:a16="http://schemas.microsoft.com/office/drawing/2014/main" id="{31A015C0-BF74-C3EB-B610-67A7A0C65BBC}"/>
              </a:ext>
            </a:extLst>
          </p:cNvPr>
          <p:cNvCxnSpPr>
            <a:cxnSpLocks/>
          </p:cNvCxnSpPr>
          <p:nvPr userDrawn="1"/>
        </p:nvCxnSpPr>
        <p:spPr>
          <a:xfrm>
            <a:off x="3743325" y="6492239"/>
            <a:ext cx="5330337" cy="0"/>
          </a:xfrm>
          <a:prstGeom prst="straightConnector1">
            <a:avLst/>
          </a:prstGeom>
          <a:solidFill>
            <a:schemeClr val="accent2"/>
          </a:solidFill>
          <a:ln w="19050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0" name="Google Shape;86;p36">
            <a:extLst>
              <a:ext uri="{FF2B5EF4-FFF2-40B4-BE49-F238E27FC236}">
                <a16:creationId xmlns:a16="http://schemas.microsoft.com/office/drawing/2014/main" id="{C764801E-862B-5742-9869-DF5EF26F50F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42925" y="333070"/>
            <a:ext cx="9675896" cy="81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>
                <a:solidFill>
                  <a:schemeClr val="accent1"/>
                </a:solidFill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pic>
        <p:nvPicPr>
          <p:cNvPr id="3" name="Picture 2" descr="A green and black logo&#10;&#10;Description automatically generated">
            <a:extLst>
              <a:ext uri="{FF2B5EF4-FFF2-40B4-BE49-F238E27FC236}">
                <a16:creationId xmlns:a16="http://schemas.microsoft.com/office/drawing/2014/main" id="{D2F3077F-A93E-9394-F358-AE181617D9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845" b="10074"/>
          <a:stretch/>
        </p:blipFill>
        <p:spPr>
          <a:xfrm>
            <a:off x="9257141" y="6313457"/>
            <a:ext cx="1085546" cy="335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6618576"/>
      </p:ext>
    </p:extLst>
  </p:cSld>
  <p:clrMapOvr>
    <a:masterClrMapping/>
  </p:clrMapOvr>
  <p:transition>
    <p:wipe dir="r"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3 contents" preserve="1" userDrawn="1">
  <p:cSld name="1_Title + 3 contents">
    <p:bg>
      <p:bgPr>
        <a:solidFill>
          <a:schemeClr val="dk2"/>
        </a:solidFill>
        <a:effectLst/>
      </p:bgPr>
    </p:bg>
    <p:spTree>
      <p:nvGrpSpPr>
        <p:cNvPr id="1" name="Shape 2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7" name="Google Shape;267;p49"/>
          <p:cNvSpPr txBox="1">
            <a:spLocks noGrp="1"/>
          </p:cNvSpPr>
          <p:nvPr>
            <p:ph type="sldNum" idx="12"/>
          </p:nvPr>
        </p:nvSpPr>
        <p:spPr>
          <a:xfrm>
            <a:off x="10512506" y="375991"/>
            <a:ext cx="1259824" cy="20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70" name="Google Shape;270;p49"/>
          <p:cNvSpPr txBox="1">
            <a:spLocks noGrp="1"/>
          </p:cNvSpPr>
          <p:nvPr>
            <p:ph type="body" idx="1"/>
          </p:nvPr>
        </p:nvSpPr>
        <p:spPr>
          <a:xfrm>
            <a:off x="542926" y="914400"/>
            <a:ext cx="7087042" cy="22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spcBef>
                <a:spcPts val="30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2pPr>
            <a:lvl3pPr marL="1371600" lvl="2" indent="-228600" algn="l">
              <a:spcBef>
                <a:spcPts val="300"/>
              </a:spcBef>
              <a:spcAft>
                <a:spcPts val="0"/>
              </a:spcAft>
              <a:buSzPts val="1200"/>
              <a:buFont typeface="Arial"/>
              <a:buNone/>
              <a:defRPr sz="1200" b="0">
                <a:solidFill>
                  <a:schemeClr val="dk1"/>
                </a:solidFill>
              </a:defRPr>
            </a:lvl3pPr>
            <a:lvl4pPr marL="1828800" lvl="3" indent="-228600" algn="l">
              <a:spcBef>
                <a:spcPts val="30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4pPr>
            <a:lvl5pPr marL="2286000" lvl="4" indent="-228600" algn="l">
              <a:spcBef>
                <a:spcPts val="300"/>
              </a:spcBef>
              <a:spcAft>
                <a:spcPts val="0"/>
              </a:spcAft>
              <a:buSzPts val="1200"/>
              <a:buFont typeface="Arial"/>
              <a:buNone/>
              <a:defRPr sz="1200" b="0">
                <a:solidFill>
                  <a:schemeClr val="dk1"/>
                </a:solidFill>
              </a:defRPr>
            </a:lvl5pPr>
            <a:lvl6pPr marL="2743200" lvl="5" indent="-342900" algn="l">
              <a:spcBef>
                <a:spcPts val="3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3" name="Google Shape;273;p49"/>
          <p:cNvSpPr/>
          <p:nvPr userDrawn="1"/>
        </p:nvSpPr>
        <p:spPr>
          <a:xfrm>
            <a:off x="509400" y="2390347"/>
            <a:ext cx="5311851" cy="3553249"/>
          </a:xfrm>
          <a:prstGeom prst="roundRect">
            <a:avLst>
              <a:gd name="adj" fmla="val 1986"/>
            </a:avLst>
          </a:prstGeom>
          <a:solidFill>
            <a:srgbClr val="FFFFFF"/>
          </a:solidFill>
          <a:ln>
            <a:noFill/>
          </a:ln>
          <a:effectLst>
            <a:outerShdw blurRad="133740" dist="38100" dir="2700000" algn="tl" rotWithShape="0">
              <a:schemeClr val="dk1">
                <a:alpha val="7843"/>
              </a:schemeClr>
            </a:outerShdw>
          </a:effectLst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4" name="Google Shape;274;p49"/>
          <p:cNvSpPr/>
          <p:nvPr userDrawn="1"/>
        </p:nvSpPr>
        <p:spPr>
          <a:xfrm>
            <a:off x="509401" y="2390347"/>
            <a:ext cx="5311851" cy="455283"/>
          </a:xfrm>
          <a:prstGeom prst="roundRect">
            <a:avLst>
              <a:gd name="adj" fmla="val 4818"/>
            </a:avLst>
          </a:prstGeom>
          <a:solidFill>
            <a:srgbClr val="00389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7" name="Google Shape;277;p49"/>
          <p:cNvSpPr txBox="1"/>
          <p:nvPr userDrawn="1"/>
        </p:nvSpPr>
        <p:spPr>
          <a:xfrm>
            <a:off x="509400" y="2390347"/>
            <a:ext cx="5311854" cy="4474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1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0" name="Google Shape;280;p49"/>
          <p:cNvSpPr txBox="1">
            <a:spLocks noGrp="1"/>
          </p:cNvSpPr>
          <p:nvPr>
            <p:ph type="body" idx="2"/>
          </p:nvPr>
        </p:nvSpPr>
        <p:spPr>
          <a:xfrm>
            <a:off x="509588" y="2389679"/>
            <a:ext cx="5312123" cy="4556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spcBef>
                <a:spcPts val="0"/>
              </a:spcBef>
              <a:spcAft>
                <a:spcPts val="0"/>
              </a:spcAft>
              <a:buSzPts val="1400"/>
              <a:buNone/>
              <a:defRPr sz="1400" b="1">
                <a:solidFill>
                  <a:srgbClr val="FFFFFF"/>
                </a:solidFill>
              </a:defRPr>
            </a:lvl1pPr>
            <a:lvl2pPr marL="914400" lvl="1" indent="-228600" algn="ctr">
              <a:spcBef>
                <a:spcPts val="350"/>
              </a:spcBef>
              <a:spcAft>
                <a:spcPts val="0"/>
              </a:spcAft>
              <a:buSzPts val="1600"/>
              <a:buNone/>
              <a:defRPr sz="1600" b="1">
                <a:solidFill>
                  <a:srgbClr val="FFFFFF"/>
                </a:solidFill>
              </a:defRPr>
            </a:lvl2pPr>
            <a:lvl3pPr marL="1371600" lvl="2" indent="-228600" algn="ctr">
              <a:spcBef>
                <a:spcPts val="400"/>
              </a:spcBef>
              <a:spcAft>
                <a:spcPts val="0"/>
              </a:spcAft>
              <a:buSzPts val="1600"/>
              <a:buFont typeface="Arial"/>
              <a:buNone/>
              <a:defRPr sz="1600" b="1">
                <a:solidFill>
                  <a:srgbClr val="FFFFFF"/>
                </a:solidFill>
              </a:defRPr>
            </a:lvl3pPr>
            <a:lvl4pPr marL="1828800" lvl="3" indent="-228600" algn="ctr">
              <a:spcBef>
                <a:spcPts val="400"/>
              </a:spcBef>
              <a:spcAft>
                <a:spcPts val="0"/>
              </a:spcAft>
              <a:buSzPts val="1600"/>
              <a:buNone/>
              <a:defRPr sz="1600" b="1">
                <a:solidFill>
                  <a:srgbClr val="FFFFFF"/>
                </a:solidFill>
              </a:defRPr>
            </a:lvl4pPr>
            <a:lvl5pPr marL="2286000" lvl="4" indent="-228600" algn="ctr">
              <a:spcBef>
                <a:spcPts val="400"/>
              </a:spcBef>
              <a:spcAft>
                <a:spcPts val="0"/>
              </a:spcAft>
              <a:buSzPts val="1600"/>
              <a:buFont typeface="Arial"/>
              <a:buNone/>
              <a:defRPr sz="1600" b="1">
                <a:solidFill>
                  <a:srgbClr val="FFFFFF"/>
                </a:solidFill>
              </a:defRPr>
            </a:lvl5pPr>
            <a:lvl6pPr marL="2743200" lvl="5" indent="-342900" algn="l">
              <a:spcBef>
                <a:spcPts val="4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 dirty="0"/>
          </a:p>
        </p:txBody>
      </p:sp>
      <p:sp>
        <p:nvSpPr>
          <p:cNvPr id="283" name="Google Shape;283;p49"/>
          <p:cNvSpPr txBox="1">
            <a:spLocks noGrp="1"/>
          </p:cNvSpPr>
          <p:nvPr>
            <p:ph type="body" idx="5"/>
          </p:nvPr>
        </p:nvSpPr>
        <p:spPr>
          <a:xfrm>
            <a:off x="761999" y="3126278"/>
            <a:ext cx="4814553" cy="24363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100"/>
              <a:buNone/>
              <a:defRPr sz="1100">
                <a:solidFill>
                  <a:schemeClr val="dk1"/>
                </a:solidFill>
              </a:defRPr>
            </a:lvl1pPr>
            <a:lvl2pPr marL="914400" lvl="1" indent="-228600" algn="l">
              <a:spcBef>
                <a:spcPts val="275"/>
              </a:spcBef>
              <a:spcAft>
                <a:spcPts val="0"/>
              </a:spcAft>
              <a:buSzPts val="1100"/>
              <a:buNone/>
              <a:defRPr sz="1100">
                <a:solidFill>
                  <a:schemeClr val="dk1"/>
                </a:solidFill>
              </a:defRPr>
            </a:lvl2pPr>
            <a:lvl3pPr marL="1371600" lvl="2" indent="-228600" algn="l">
              <a:spcBef>
                <a:spcPts val="275"/>
              </a:spcBef>
              <a:spcAft>
                <a:spcPts val="0"/>
              </a:spcAft>
              <a:buSzPts val="1100"/>
              <a:buFont typeface="Arial"/>
              <a:buNone/>
              <a:defRPr sz="1100">
                <a:solidFill>
                  <a:schemeClr val="dk1"/>
                </a:solidFill>
              </a:defRPr>
            </a:lvl3pPr>
            <a:lvl4pPr marL="1828800" lvl="3" indent="-228600" algn="l">
              <a:spcBef>
                <a:spcPts val="275"/>
              </a:spcBef>
              <a:spcAft>
                <a:spcPts val="0"/>
              </a:spcAft>
              <a:buSzPts val="1100"/>
              <a:buNone/>
              <a:defRPr sz="1100">
                <a:solidFill>
                  <a:schemeClr val="dk1"/>
                </a:solidFill>
              </a:defRPr>
            </a:lvl4pPr>
            <a:lvl5pPr marL="2286000" lvl="4" indent="-228600" algn="l">
              <a:spcBef>
                <a:spcPts val="275"/>
              </a:spcBef>
              <a:spcAft>
                <a:spcPts val="0"/>
              </a:spcAft>
              <a:buSzPts val="1100"/>
              <a:buFont typeface="Arial"/>
              <a:buNone/>
              <a:defRPr sz="1100">
                <a:solidFill>
                  <a:schemeClr val="dk1"/>
                </a:solidFill>
              </a:defRPr>
            </a:lvl5pPr>
            <a:lvl6pPr marL="2743200" lvl="5" indent="-342900" algn="l">
              <a:spcBef>
                <a:spcPts val="275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 dirty="0"/>
          </a:p>
        </p:txBody>
      </p:sp>
      <p:sp>
        <p:nvSpPr>
          <p:cNvPr id="286" name="Google Shape;286;p49"/>
          <p:cNvSpPr txBox="1">
            <a:spLocks noGrp="1"/>
          </p:cNvSpPr>
          <p:nvPr>
            <p:ph type="title"/>
          </p:nvPr>
        </p:nvSpPr>
        <p:spPr>
          <a:xfrm>
            <a:off x="542926" y="1202705"/>
            <a:ext cx="11172864" cy="81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accent1"/>
                </a:solidFill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" name="Google Shape;40;p32">
            <a:extLst>
              <a:ext uri="{FF2B5EF4-FFF2-40B4-BE49-F238E27FC236}">
                <a16:creationId xmlns:a16="http://schemas.microsoft.com/office/drawing/2014/main" id="{4EDB6876-4705-BCA7-0A29-FC8B3108C06B}"/>
              </a:ext>
            </a:extLst>
          </p:cNvPr>
          <p:cNvSpPr txBox="1"/>
          <p:nvPr userDrawn="1"/>
        </p:nvSpPr>
        <p:spPr>
          <a:xfrm>
            <a:off x="516835" y="6334236"/>
            <a:ext cx="3550340" cy="2974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None/>
            </a:pPr>
            <a:r>
              <a:rPr lang="ru-RU" sz="12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ЗоРРО</a:t>
            </a:r>
            <a:r>
              <a:rPr lang="ru-RU" sz="1200" b="1" i="0" u="none" strike="noStrike" cap="none" baseline="30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® </a:t>
            </a:r>
            <a:r>
              <a:rPr lang="de-CH" sz="1200" b="1" i="0" u="none" strike="noStrike" cap="none" baseline="30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2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024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| Internal Use Only</a:t>
            </a:r>
            <a:endParaRPr b="0" dirty="0"/>
          </a:p>
        </p:txBody>
      </p:sp>
      <p:pic>
        <p:nvPicPr>
          <p:cNvPr id="3" name="Google Shape;53;p32">
            <a:extLst>
              <a:ext uri="{FF2B5EF4-FFF2-40B4-BE49-F238E27FC236}">
                <a16:creationId xmlns:a16="http://schemas.microsoft.com/office/drawing/2014/main" id="{CE0C300C-0C50-A9C8-89F5-194BEE957656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0566400" y="6399249"/>
            <a:ext cx="1205930" cy="16552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4" name="Google Shape;54;p32">
            <a:extLst>
              <a:ext uri="{FF2B5EF4-FFF2-40B4-BE49-F238E27FC236}">
                <a16:creationId xmlns:a16="http://schemas.microsoft.com/office/drawing/2014/main" id="{5EE8BEC6-EB88-72E3-8CF7-5FC98581E21D}"/>
              </a:ext>
            </a:extLst>
          </p:cNvPr>
          <p:cNvCxnSpPr>
            <a:cxnSpLocks/>
          </p:cNvCxnSpPr>
          <p:nvPr userDrawn="1"/>
        </p:nvCxnSpPr>
        <p:spPr>
          <a:xfrm>
            <a:off x="3743325" y="6492239"/>
            <a:ext cx="6630035" cy="0"/>
          </a:xfrm>
          <a:prstGeom prst="straightConnector1">
            <a:avLst/>
          </a:prstGeom>
          <a:solidFill>
            <a:schemeClr val="accent2"/>
          </a:solidFill>
          <a:ln w="19050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ABF717AF-A982-3ADF-656F-EE88C505279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42926" y="397563"/>
            <a:ext cx="1573333" cy="418388"/>
          </a:xfrm>
          <a:prstGeom prst="rect">
            <a:avLst/>
          </a:prstGeom>
        </p:spPr>
      </p:pic>
      <p:sp>
        <p:nvSpPr>
          <p:cNvPr id="33" name="Google Shape;273;p49">
            <a:extLst>
              <a:ext uri="{FF2B5EF4-FFF2-40B4-BE49-F238E27FC236}">
                <a16:creationId xmlns:a16="http://schemas.microsoft.com/office/drawing/2014/main" id="{05106BA3-6469-90A7-D1BE-B9397FB3EC79}"/>
              </a:ext>
            </a:extLst>
          </p:cNvPr>
          <p:cNvSpPr/>
          <p:nvPr userDrawn="1"/>
        </p:nvSpPr>
        <p:spPr>
          <a:xfrm>
            <a:off x="6403939" y="2390347"/>
            <a:ext cx="5311851" cy="3553249"/>
          </a:xfrm>
          <a:prstGeom prst="roundRect">
            <a:avLst>
              <a:gd name="adj" fmla="val 1986"/>
            </a:avLst>
          </a:prstGeom>
          <a:solidFill>
            <a:srgbClr val="FFFFFF"/>
          </a:solidFill>
          <a:ln>
            <a:noFill/>
          </a:ln>
          <a:effectLst>
            <a:outerShdw blurRad="133740" dist="38100" dir="2700000" algn="tl" rotWithShape="0">
              <a:schemeClr val="dk1">
                <a:alpha val="7843"/>
              </a:schemeClr>
            </a:outerShdw>
          </a:effectLst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" name="Google Shape;274;p49">
            <a:extLst>
              <a:ext uri="{FF2B5EF4-FFF2-40B4-BE49-F238E27FC236}">
                <a16:creationId xmlns:a16="http://schemas.microsoft.com/office/drawing/2014/main" id="{DE24168D-D6F1-F175-B3EC-55F49DE888CF}"/>
              </a:ext>
            </a:extLst>
          </p:cNvPr>
          <p:cNvSpPr/>
          <p:nvPr userDrawn="1"/>
        </p:nvSpPr>
        <p:spPr>
          <a:xfrm>
            <a:off x="6403940" y="2390347"/>
            <a:ext cx="5311851" cy="455283"/>
          </a:xfrm>
          <a:prstGeom prst="roundRect">
            <a:avLst>
              <a:gd name="adj" fmla="val 4818"/>
            </a:avLst>
          </a:prstGeom>
          <a:solidFill>
            <a:srgbClr val="00389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5" name="Google Shape;277;p49">
            <a:extLst>
              <a:ext uri="{FF2B5EF4-FFF2-40B4-BE49-F238E27FC236}">
                <a16:creationId xmlns:a16="http://schemas.microsoft.com/office/drawing/2014/main" id="{939BFF79-D76C-B75B-06C1-28E70B0DD771}"/>
              </a:ext>
            </a:extLst>
          </p:cNvPr>
          <p:cNvSpPr txBox="1"/>
          <p:nvPr userDrawn="1"/>
        </p:nvSpPr>
        <p:spPr>
          <a:xfrm>
            <a:off x="6403939" y="2390347"/>
            <a:ext cx="5311854" cy="4474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1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6" name="Google Shape;280;p49">
            <a:extLst>
              <a:ext uri="{FF2B5EF4-FFF2-40B4-BE49-F238E27FC236}">
                <a16:creationId xmlns:a16="http://schemas.microsoft.com/office/drawing/2014/main" id="{CF5E0AE0-FE2D-1E74-AF70-ECCE36CF77A8}"/>
              </a:ext>
            </a:extLst>
          </p:cNvPr>
          <p:cNvSpPr txBox="1">
            <a:spLocks noGrp="1"/>
          </p:cNvSpPr>
          <p:nvPr>
            <p:ph type="body" idx="13"/>
          </p:nvPr>
        </p:nvSpPr>
        <p:spPr>
          <a:xfrm>
            <a:off x="6370291" y="2389679"/>
            <a:ext cx="5312123" cy="4556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spcBef>
                <a:spcPts val="0"/>
              </a:spcBef>
              <a:spcAft>
                <a:spcPts val="0"/>
              </a:spcAft>
              <a:buSzPts val="1400"/>
              <a:buNone/>
              <a:defRPr sz="1400" b="1">
                <a:solidFill>
                  <a:srgbClr val="FFFFFF"/>
                </a:solidFill>
              </a:defRPr>
            </a:lvl1pPr>
            <a:lvl2pPr marL="914400" lvl="1" indent="-228600" algn="ctr">
              <a:spcBef>
                <a:spcPts val="350"/>
              </a:spcBef>
              <a:spcAft>
                <a:spcPts val="0"/>
              </a:spcAft>
              <a:buSzPts val="1600"/>
              <a:buNone/>
              <a:defRPr sz="1600" b="1">
                <a:solidFill>
                  <a:srgbClr val="FFFFFF"/>
                </a:solidFill>
              </a:defRPr>
            </a:lvl2pPr>
            <a:lvl3pPr marL="1371600" lvl="2" indent="-228600" algn="ctr">
              <a:spcBef>
                <a:spcPts val="400"/>
              </a:spcBef>
              <a:spcAft>
                <a:spcPts val="0"/>
              </a:spcAft>
              <a:buSzPts val="1600"/>
              <a:buFont typeface="Arial"/>
              <a:buNone/>
              <a:defRPr sz="1600" b="1">
                <a:solidFill>
                  <a:srgbClr val="FFFFFF"/>
                </a:solidFill>
              </a:defRPr>
            </a:lvl3pPr>
            <a:lvl4pPr marL="1828800" lvl="3" indent="-228600" algn="ctr">
              <a:spcBef>
                <a:spcPts val="400"/>
              </a:spcBef>
              <a:spcAft>
                <a:spcPts val="0"/>
              </a:spcAft>
              <a:buSzPts val="1600"/>
              <a:buNone/>
              <a:defRPr sz="1600" b="1">
                <a:solidFill>
                  <a:srgbClr val="FFFFFF"/>
                </a:solidFill>
              </a:defRPr>
            </a:lvl4pPr>
            <a:lvl5pPr marL="2286000" lvl="4" indent="-228600" algn="ctr">
              <a:spcBef>
                <a:spcPts val="400"/>
              </a:spcBef>
              <a:spcAft>
                <a:spcPts val="0"/>
              </a:spcAft>
              <a:buSzPts val="1600"/>
              <a:buFont typeface="Arial"/>
              <a:buNone/>
              <a:defRPr sz="1600" b="1">
                <a:solidFill>
                  <a:srgbClr val="FFFFFF"/>
                </a:solidFill>
              </a:defRPr>
            </a:lvl5pPr>
            <a:lvl6pPr marL="2743200" lvl="5" indent="-342900" algn="l">
              <a:spcBef>
                <a:spcPts val="4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 dirty="0"/>
          </a:p>
        </p:txBody>
      </p:sp>
      <p:sp>
        <p:nvSpPr>
          <p:cNvPr id="37" name="Google Shape;283;p49">
            <a:extLst>
              <a:ext uri="{FF2B5EF4-FFF2-40B4-BE49-F238E27FC236}">
                <a16:creationId xmlns:a16="http://schemas.microsoft.com/office/drawing/2014/main" id="{5D5E92F3-5B3A-89D6-DBED-9CBD712E6E96}"/>
              </a:ext>
            </a:extLst>
          </p:cNvPr>
          <p:cNvSpPr txBox="1">
            <a:spLocks noGrp="1"/>
          </p:cNvSpPr>
          <p:nvPr>
            <p:ph type="body" idx="14"/>
          </p:nvPr>
        </p:nvSpPr>
        <p:spPr>
          <a:xfrm>
            <a:off x="6656538" y="3126278"/>
            <a:ext cx="4814553" cy="24363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100"/>
              <a:buNone/>
              <a:defRPr sz="1100">
                <a:solidFill>
                  <a:schemeClr val="dk1"/>
                </a:solidFill>
              </a:defRPr>
            </a:lvl1pPr>
            <a:lvl2pPr marL="914400" lvl="1" indent="-228600" algn="l">
              <a:spcBef>
                <a:spcPts val="275"/>
              </a:spcBef>
              <a:spcAft>
                <a:spcPts val="0"/>
              </a:spcAft>
              <a:buSzPts val="1100"/>
              <a:buNone/>
              <a:defRPr sz="1100">
                <a:solidFill>
                  <a:schemeClr val="dk1"/>
                </a:solidFill>
              </a:defRPr>
            </a:lvl2pPr>
            <a:lvl3pPr marL="1371600" lvl="2" indent="-228600" algn="l">
              <a:spcBef>
                <a:spcPts val="275"/>
              </a:spcBef>
              <a:spcAft>
                <a:spcPts val="0"/>
              </a:spcAft>
              <a:buSzPts val="1100"/>
              <a:buFont typeface="Arial"/>
              <a:buNone/>
              <a:defRPr sz="1100">
                <a:solidFill>
                  <a:schemeClr val="dk1"/>
                </a:solidFill>
              </a:defRPr>
            </a:lvl3pPr>
            <a:lvl4pPr marL="1828800" lvl="3" indent="-228600" algn="l">
              <a:spcBef>
                <a:spcPts val="275"/>
              </a:spcBef>
              <a:spcAft>
                <a:spcPts val="0"/>
              </a:spcAft>
              <a:buSzPts val="1100"/>
              <a:buNone/>
              <a:defRPr sz="1100">
                <a:solidFill>
                  <a:schemeClr val="dk1"/>
                </a:solidFill>
              </a:defRPr>
            </a:lvl4pPr>
            <a:lvl5pPr marL="2286000" lvl="4" indent="-228600" algn="l">
              <a:spcBef>
                <a:spcPts val="275"/>
              </a:spcBef>
              <a:spcAft>
                <a:spcPts val="0"/>
              </a:spcAft>
              <a:buSzPts val="1100"/>
              <a:buFont typeface="Arial"/>
              <a:buNone/>
              <a:defRPr sz="1100">
                <a:solidFill>
                  <a:schemeClr val="dk1"/>
                </a:solidFill>
              </a:defRPr>
            </a:lvl5pPr>
            <a:lvl6pPr marL="2743200" lvl="5" indent="-342900" algn="l">
              <a:spcBef>
                <a:spcPts val="275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43004623"/>
      </p:ext>
    </p:extLst>
  </p:cSld>
  <p:clrMapOvr>
    <a:masterClrMapping/>
  </p:clrMapOvr>
  <p:transition>
    <p:wipe dir="r"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4 contents" preserve="1">
  <p:cSld name="Title + 4 contents">
    <p:bg>
      <p:bgPr>
        <a:solidFill>
          <a:schemeClr val="dk2"/>
        </a:solidFill>
        <a:effectLst/>
      </p:bgPr>
    </p:bg>
    <p:spTree>
      <p:nvGrpSpPr>
        <p:cNvPr id="1" name="Shape 2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0" name="Google Shape;290;p50"/>
          <p:cNvSpPr>
            <a:spLocks noGrp="1"/>
          </p:cNvSpPr>
          <p:nvPr>
            <p:ph type="pic" idx="2"/>
          </p:nvPr>
        </p:nvSpPr>
        <p:spPr>
          <a:xfrm>
            <a:off x="8153400" y="0"/>
            <a:ext cx="4038600" cy="5689600"/>
          </a:xfrm>
          <a:prstGeom prst="rect">
            <a:avLst/>
          </a:prstGeom>
          <a:noFill/>
          <a:ln>
            <a:noFill/>
          </a:ln>
        </p:spPr>
      </p:sp>
      <p:sp>
        <p:nvSpPr>
          <p:cNvPr id="291" name="Google Shape;291;p50"/>
          <p:cNvSpPr txBox="1">
            <a:spLocks noGrp="1"/>
          </p:cNvSpPr>
          <p:nvPr>
            <p:ph type="sldNum" idx="12"/>
          </p:nvPr>
        </p:nvSpPr>
        <p:spPr>
          <a:xfrm>
            <a:off x="10512506" y="375991"/>
            <a:ext cx="1259824" cy="20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94" name="Google Shape;294;p50"/>
          <p:cNvSpPr txBox="1">
            <a:spLocks noGrp="1"/>
          </p:cNvSpPr>
          <p:nvPr>
            <p:ph type="body" idx="1"/>
          </p:nvPr>
        </p:nvSpPr>
        <p:spPr>
          <a:xfrm>
            <a:off x="542926" y="914400"/>
            <a:ext cx="7087042" cy="22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1pPr>
            <a:lvl2pPr marL="914400" lvl="1" indent="-228600" algn="l">
              <a:spcBef>
                <a:spcPts val="30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2pPr>
            <a:lvl3pPr marL="1371600" lvl="2" indent="-228600" algn="l">
              <a:spcBef>
                <a:spcPts val="300"/>
              </a:spcBef>
              <a:spcAft>
                <a:spcPts val="0"/>
              </a:spcAft>
              <a:buSzPts val="1200"/>
              <a:buFont typeface="Arial"/>
              <a:buNone/>
              <a:defRPr sz="1200" b="0">
                <a:solidFill>
                  <a:schemeClr val="dk1"/>
                </a:solidFill>
              </a:defRPr>
            </a:lvl3pPr>
            <a:lvl4pPr marL="1828800" lvl="3" indent="-228600" algn="l">
              <a:spcBef>
                <a:spcPts val="30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1"/>
                </a:solidFill>
              </a:defRPr>
            </a:lvl4pPr>
            <a:lvl5pPr marL="2286000" lvl="4" indent="-228600" algn="l">
              <a:spcBef>
                <a:spcPts val="300"/>
              </a:spcBef>
              <a:spcAft>
                <a:spcPts val="0"/>
              </a:spcAft>
              <a:buSzPts val="1200"/>
              <a:buFont typeface="Arial"/>
              <a:buNone/>
              <a:defRPr sz="1200" b="0">
                <a:solidFill>
                  <a:schemeClr val="dk1"/>
                </a:solidFill>
              </a:defRPr>
            </a:lvl5pPr>
            <a:lvl6pPr marL="2743200" lvl="5" indent="-342900" algn="l">
              <a:spcBef>
                <a:spcPts val="3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5" name="Google Shape;295;p50"/>
          <p:cNvSpPr txBox="1">
            <a:spLocks noGrp="1"/>
          </p:cNvSpPr>
          <p:nvPr>
            <p:ph type="title"/>
          </p:nvPr>
        </p:nvSpPr>
        <p:spPr>
          <a:xfrm>
            <a:off x="542926" y="1202705"/>
            <a:ext cx="7000874" cy="81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6" name="Google Shape;296;p50"/>
          <p:cNvSpPr/>
          <p:nvPr/>
        </p:nvSpPr>
        <p:spPr>
          <a:xfrm>
            <a:off x="4264277" y="2716284"/>
            <a:ext cx="3663763" cy="1449421"/>
          </a:xfrm>
          <a:prstGeom prst="roundRect">
            <a:avLst>
              <a:gd name="adj" fmla="val 1986"/>
            </a:avLst>
          </a:prstGeom>
          <a:solidFill>
            <a:srgbClr val="FFFFFF"/>
          </a:solidFill>
          <a:ln>
            <a:noFill/>
          </a:ln>
          <a:effectLst>
            <a:outerShdw blurRad="133740" dist="38100" dir="2700000" algn="tl" rotWithShape="0">
              <a:schemeClr val="dk1">
                <a:alpha val="7843"/>
              </a:schemeClr>
            </a:outerShdw>
          </a:effectLst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7" name="Google Shape;297;p50"/>
          <p:cNvSpPr/>
          <p:nvPr/>
        </p:nvSpPr>
        <p:spPr>
          <a:xfrm>
            <a:off x="509400" y="2716284"/>
            <a:ext cx="3663763" cy="1449421"/>
          </a:xfrm>
          <a:prstGeom prst="roundRect">
            <a:avLst>
              <a:gd name="adj" fmla="val 1986"/>
            </a:avLst>
          </a:prstGeom>
          <a:solidFill>
            <a:srgbClr val="FFFFFF"/>
          </a:solidFill>
          <a:ln>
            <a:noFill/>
          </a:ln>
          <a:effectLst>
            <a:outerShdw blurRad="133740" dist="38100" dir="2700000" algn="tl" rotWithShape="0">
              <a:schemeClr val="dk1">
                <a:alpha val="7843"/>
              </a:schemeClr>
            </a:outerShdw>
          </a:effectLst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8" name="Google Shape;298;p50"/>
          <p:cNvSpPr/>
          <p:nvPr/>
        </p:nvSpPr>
        <p:spPr>
          <a:xfrm>
            <a:off x="509401" y="2716284"/>
            <a:ext cx="3663763" cy="455283"/>
          </a:xfrm>
          <a:prstGeom prst="roundRect">
            <a:avLst>
              <a:gd name="adj" fmla="val 481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9" name="Google Shape;299;p50"/>
          <p:cNvSpPr/>
          <p:nvPr/>
        </p:nvSpPr>
        <p:spPr>
          <a:xfrm>
            <a:off x="4264277" y="2716284"/>
            <a:ext cx="3663763" cy="455283"/>
          </a:xfrm>
          <a:prstGeom prst="roundRect">
            <a:avLst>
              <a:gd name="adj" fmla="val 4818"/>
            </a:avLst>
          </a:prstGeom>
          <a:solidFill>
            <a:srgbClr val="AAE9AC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0" name="Google Shape;300;p50"/>
          <p:cNvSpPr/>
          <p:nvPr/>
        </p:nvSpPr>
        <p:spPr>
          <a:xfrm>
            <a:off x="4264277" y="4240284"/>
            <a:ext cx="3663763" cy="1449421"/>
          </a:xfrm>
          <a:prstGeom prst="roundRect">
            <a:avLst>
              <a:gd name="adj" fmla="val 1986"/>
            </a:avLst>
          </a:prstGeom>
          <a:solidFill>
            <a:srgbClr val="FFFFFF"/>
          </a:solidFill>
          <a:ln>
            <a:noFill/>
          </a:ln>
          <a:effectLst>
            <a:outerShdw blurRad="133740" dist="38100" dir="2700000" algn="tl" rotWithShape="0">
              <a:schemeClr val="dk1">
                <a:alpha val="7843"/>
              </a:schemeClr>
            </a:outerShdw>
          </a:effectLst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1" name="Google Shape;301;p50"/>
          <p:cNvSpPr/>
          <p:nvPr/>
        </p:nvSpPr>
        <p:spPr>
          <a:xfrm>
            <a:off x="509400" y="4240284"/>
            <a:ext cx="3663763" cy="1449421"/>
          </a:xfrm>
          <a:prstGeom prst="roundRect">
            <a:avLst>
              <a:gd name="adj" fmla="val 1986"/>
            </a:avLst>
          </a:prstGeom>
          <a:solidFill>
            <a:srgbClr val="FFFFFF"/>
          </a:solidFill>
          <a:ln>
            <a:noFill/>
          </a:ln>
          <a:effectLst>
            <a:outerShdw blurRad="133740" dist="38100" dir="2700000" algn="tl" rotWithShape="0">
              <a:schemeClr val="dk1">
                <a:alpha val="7843"/>
              </a:schemeClr>
            </a:outerShdw>
          </a:effectLst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2" name="Google Shape;302;p50"/>
          <p:cNvSpPr/>
          <p:nvPr/>
        </p:nvSpPr>
        <p:spPr>
          <a:xfrm>
            <a:off x="509401" y="4240284"/>
            <a:ext cx="3663763" cy="455283"/>
          </a:xfrm>
          <a:prstGeom prst="roundRect">
            <a:avLst>
              <a:gd name="adj" fmla="val 4818"/>
            </a:avLst>
          </a:prstGeom>
          <a:solidFill>
            <a:srgbClr val="AAE9AC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3" name="Google Shape;303;p50"/>
          <p:cNvSpPr/>
          <p:nvPr/>
        </p:nvSpPr>
        <p:spPr>
          <a:xfrm>
            <a:off x="4264277" y="4240284"/>
            <a:ext cx="3663763" cy="455283"/>
          </a:xfrm>
          <a:prstGeom prst="roundRect">
            <a:avLst>
              <a:gd name="adj" fmla="val 481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4" name="Google Shape;304;p50"/>
          <p:cNvSpPr txBox="1">
            <a:spLocks noGrp="1"/>
          </p:cNvSpPr>
          <p:nvPr>
            <p:ph type="body" idx="3"/>
          </p:nvPr>
        </p:nvSpPr>
        <p:spPr>
          <a:xfrm>
            <a:off x="509588" y="2716284"/>
            <a:ext cx="3663950" cy="4556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spcBef>
                <a:spcPts val="0"/>
              </a:spcBef>
              <a:spcAft>
                <a:spcPts val="0"/>
              </a:spcAft>
              <a:buSzPts val="1400"/>
              <a:buNone/>
              <a:defRPr sz="1400" b="1">
                <a:solidFill>
                  <a:srgbClr val="FFFFFF"/>
                </a:solidFill>
              </a:defRPr>
            </a:lvl1pPr>
            <a:lvl2pPr marL="914400" lvl="1" indent="-228600" algn="ctr">
              <a:spcBef>
                <a:spcPts val="350"/>
              </a:spcBef>
              <a:spcAft>
                <a:spcPts val="0"/>
              </a:spcAft>
              <a:buSzPts val="1600"/>
              <a:buNone/>
              <a:defRPr sz="1600" b="1">
                <a:solidFill>
                  <a:srgbClr val="FFFFFF"/>
                </a:solidFill>
              </a:defRPr>
            </a:lvl2pPr>
            <a:lvl3pPr marL="1371600" lvl="2" indent="-228600" algn="ctr">
              <a:spcBef>
                <a:spcPts val="400"/>
              </a:spcBef>
              <a:spcAft>
                <a:spcPts val="0"/>
              </a:spcAft>
              <a:buSzPts val="1600"/>
              <a:buFont typeface="Arial"/>
              <a:buNone/>
              <a:defRPr sz="1600" b="1">
                <a:solidFill>
                  <a:srgbClr val="FFFFFF"/>
                </a:solidFill>
              </a:defRPr>
            </a:lvl3pPr>
            <a:lvl4pPr marL="1828800" lvl="3" indent="-228600" algn="ctr">
              <a:spcBef>
                <a:spcPts val="400"/>
              </a:spcBef>
              <a:spcAft>
                <a:spcPts val="0"/>
              </a:spcAft>
              <a:buSzPts val="1600"/>
              <a:buNone/>
              <a:defRPr sz="1600" b="1">
                <a:solidFill>
                  <a:srgbClr val="FFFFFF"/>
                </a:solidFill>
              </a:defRPr>
            </a:lvl4pPr>
            <a:lvl5pPr marL="2286000" lvl="4" indent="-228600" algn="ctr">
              <a:spcBef>
                <a:spcPts val="400"/>
              </a:spcBef>
              <a:spcAft>
                <a:spcPts val="0"/>
              </a:spcAft>
              <a:buSzPts val="1600"/>
              <a:buFont typeface="Arial"/>
              <a:buNone/>
              <a:defRPr sz="1600" b="1">
                <a:solidFill>
                  <a:srgbClr val="FFFFFF"/>
                </a:solidFill>
              </a:defRPr>
            </a:lvl5pPr>
            <a:lvl6pPr marL="2743200" lvl="5" indent="-342900" algn="l">
              <a:spcBef>
                <a:spcPts val="4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5" name="Google Shape;305;p50"/>
          <p:cNvSpPr txBox="1">
            <a:spLocks noGrp="1"/>
          </p:cNvSpPr>
          <p:nvPr>
            <p:ph type="body" idx="4"/>
          </p:nvPr>
        </p:nvSpPr>
        <p:spPr>
          <a:xfrm>
            <a:off x="4266579" y="2716284"/>
            <a:ext cx="3663950" cy="4556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spcBef>
                <a:spcPts val="0"/>
              </a:spcBef>
              <a:spcAft>
                <a:spcPts val="0"/>
              </a:spcAft>
              <a:buSzPts val="1400"/>
              <a:buNone/>
              <a:defRPr sz="1400" b="1">
                <a:solidFill>
                  <a:srgbClr val="FFFFFF"/>
                </a:solidFill>
              </a:defRPr>
            </a:lvl1pPr>
            <a:lvl2pPr marL="914400" lvl="1" indent="-228600" algn="ctr">
              <a:spcBef>
                <a:spcPts val="350"/>
              </a:spcBef>
              <a:spcAft>
                <a:spcPts val="0"/>
              </a:spcAft>
              <a:buSzPts val="1400"/>
              <a:buNone/>
              <a:defRPr sz="1400" b="1">
                <a:solidFill>
                  <a:srgbClr val="FFFFFF"/>
                </a:solidFill>
              </a:defRPr>
            </a:lvl2pPr>
            <a:lvl3pPr marL="1371600" lvl="2" indent="-228600" algn="ctr">
              <a:spcBef>
                <a:spcPts val="350"/>
              </a:spcBef>
              <a:spcAft>
                <a:spcPts val="0"/>
              </a:spcAft>
              <a:buSzPts val="1400"/>
              <a:buFont typeface="Arial"/>
              <a:buNone/>
              <a:defRPr sz="1400" b="1">
                <a:solidFill>
                  <a:srgbClr val="FFFFFF"/>
                </a:solidFill>
              </a:defRPr>
            </a:lvl3pPr>
            <a:lvl4pPr marL="1828800" lvl="3" indent="-228600" algn="ctr">
              <a:spcBef>
                <a:spcPts val="350"/>
              </a:spcBef>
              <a:spcAft>
                <a:spcPts val="0"/>
              </a:spcAft>
              <a:buSzPts val="1400"/>
              <a:buNone/>
              <a:defRPr sz="1400" b="1">
                <a:solidFill>
                  <a:srgbClr val="FFFFFF"/>
                </a:solidFill>
              </a:defRPr>
            </a:lvl4pPr>
            <a:lvl5pPr marL="2286000" lvl="4" indent="-228600" algn="ctr">
              <a:spcBef>
                <a:spcPts val="350"/>
              </a:spcBef>
              <a:spcAft>
                <a:spcPts val="0"/>
              </a:spcAft>
              <a:buSzPts val="1400"/>
              <a:buFont typeface="Arial"/>
              <a:buNone/>
              <a:defRPr sz="1400" b="1">
                <a:solidFill>
                  <a:srgbClr val="FFFFFF"/>
                </a:solidFill>
              </a:defRPr>
            </a:lvl5pPr>
            <a:lvl6pPr marL="2743200" lvl="5" indent="-342900" algn="l">
              <a:spcBef>
                <a:spcPts val="35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6" name="Google Shape;306;p50"/>
          <p:cNvSpPr txBox="1">
            <a:spLocks noGrp="1"/>
          </p:cNvSpPr>
          <p:nvPr>
            <p:ph type="body" idx="5"/>
          </p:nvPr>
        </p:nvSpPr>
        <p:spPr>
          <a:xfrm>
            <a:off x="4266579" y="4236971"/>
            <a:ext cx="3663950" cy="4556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spcBef>
                <a:spcPts val="0"/>
              </a:spcBef>
              <a:spcAft>
                <a:spcPts val="0"/>
              </a:spcAft>
              <a:buSzPts val="1400"/>
              <a:buNone/>
              <a:defRPr sz="1400" b="1">
                <a:solidFill>
                  <a:srgbClr val="FFFFFF"/>
                </a:solidFill>
              </a:defRPr>
            </a:lvl1pPr>
            <a:lvl2pPr marL="914400" lvl="1" indent="-228600" algn="ctr">
              <a:spcBef>
                <a:spcPts val="350"/>
              </a:spcBef>
              <a:spcAft>
                <a:spcPts val="0"/>
              </a:spcAft>
              <a:buSzPts val="1600"/>
              <a:buNone/>
              <a:defRPr sz="1600" b="1">
                <a:solidFill>
                  <a:srgbClr val="FFFFFF"/>
                </a:solidFill>
              </a:defRPr>
            </a:lvl2pPr>
            <a:lvl3pPr marL="1371600" lvl="2" indent="-228600" algn="ctr">
              <a:spcBef>
                <a:spcPts val="400"/>
              </a:spcBef>
              <a:spcAft>
                <a:spcPts val="0"/>
              </a:spcAft>
              <a:buSzPts val="1600"/>
              <a:buFont typeface="Arial"/>
              <a:buNone/>
              <a:defRPr sz="1600" b="1">
                <a:solidFill>
                  <a:srgbClr val="FFFFFF"/>
                </a:solidFill>
              </a:defRPr>
            </a:lvl3pPr>
            <a:lvl4pPr marL="1828800" lvl="3" indent="-228600" algn="ctr">
              <a:spcBef>
                <a:spcPts val="400"/>
              </a:spcBef>
              <a:spcAft>
                <a:spcPts val="0"/>
              </a:spcAft>
              <a:buSzPts val="1600"/>
              <a:buNone/>
              <a:defRPr sz="1600" b="1">
                <a:solidFill>
                  <a:srgbClr val="FFFFFF"/>
                </a:solidFill>
              </a:defRPr>
            </a:lvl4pPr>
            <a:lvl5pPr marL="2286000" lvl="4" indent="-228600" algn="ctr">
              <a:spcBef>
                <a:spcPts val="400"/>
              </a:spcBef>
              <a:spcAft>
                <a:spcPts val="0"/>
              </a:spcAft>
              <a:buSzPts val="1600"/>
              <a:buFont typeface="Arial"/>
              <a:buNone/>
              <a:defRPr sz="1600" b="1">
                <a:solidFill>
                  <a:srgbClr val="FFFFFF"/>
                </a:solidFill>
              </a:defRPr>
            </a:lvl5pPr>
            <a:lvl6pPr marL="2743200" lvl="5" indent="-342900" algn="l">
              <a:spcBef>
                <a:spcPts val="4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7" name="Google Shape;307;p50"/>
          <p:cNvSpPr txBox="1">
            <a:spLocks noGrp="1"/>
          </p:cNvSpPr>
          <p:nvPr>
            <p:ph type="body" idx="6"/>
          </p:nvPr>
        </p:nvSpPr>
        <p:spPr>
          <a:xfrm>
            <a:off x="4518991" y="4886739"/>
            <a:ext cx="3200400" cy="6286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100"/>
              <a:buNone/>
              <a:defRPr sz="1100">
                <a:solidFill>
                  <a:schemeClr val="dk1"/>
                </a:solidFill>
              </a:defRPr>
            </a:lvl1pPr>
            <a:lvl2pPr marL="914400" lvl="1" indent="-228600" algn="l">
              <a:spcBef>
                <a:spcPts val="275"/>
              </a:spcBef>
              <a:spcAft>
                <a:spcPts val="0"/>
              </a:spcAft>
              <a:buSzPts val="1100"/>
              <a:buNone/>
              <a:defRPr sz="1100">
                <a:solidFill>
                  <a:schemeClr val="dk1"/>
                </a:solidFill>
              </a:defRPr>
            </a:lvl2pPr>
            <a:lvl3pPr marL="1371600" lvl="2" indent="-228600" algn="l">
              <a:spcBef>
                <a:spcPts val="275"/>
              </a:spcBef>
              <a:spcAft>
                <a:spcPts val="0"/>
              </a:spcAft>
              <a:buSzPts val="1100"/>
              <a:buFont typeface="Arial"/>
              <a:buNone/>
              <a:defRPr sz="1100">
                <a:solidFill>
                  <a:schemeClr val="dk1"/>
                </a:solidFill>
              </a:defRPr>
            </a:lvl3pPr>
            <a:lvl4pPr marL="1828800" lvl="3" indent="-228600" algn="l">
              <a:spcBef>
                <a:spcPts val="275"/>
              </a:spcBef>
              <a:spcAft>
                <a:spcPts val="0"/>
              </a:spcAft>
              <a:buSzPts val="1100"/>
              <a:buNone/>
              <a:defRPr sz="1100">
                <a:solidFill>
                  <a:schemeClr val="dk1"/>
                </a:solidFill>
              </a:defRPr>
            </a:lvl4pPr>
            <a:lvl5pPr marL="2286000" lvl="4" indent="-228600" algn="l">
              <a:spcBef>
                <a:spcPts val="275"/>
              </a:spcBef>
              <a:spcAft>
                <a:spcPts val="0"/>
              </a:spcAft>
              <a:buSzPts val="1100"/>
              <a:buFont typeface="Arial"/>
              <a:buNone/>
              <a:defRPr sz="1100">
                <a:solidFill>
                  <a:schemeClr val="dk1"/>
                </a:solidFill>
              </a:defRPr>
            </a:lvl5pPr>
            <a:lvl6pPr marL="2743200" lvl="5" indent="-342900" algn="l">
              <a:spcBef>
                <a:spcPts val="275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8" name="Google Shape;308;p50"/>
          <p:cNvSpPr txBox="1">
            <a:spLocks noGrp="1"/>
          </p:cNvSpPr>
          <p:nvPr>
            <p:ph type="body" idx="7"/>
          </p:nvPr>
        </p:nvSpPr>
        <p:spPr>
          <a:xfrm>
            <a:off x="509588" y="4227032"/>
            <a:ext cx="3663950" cy="4556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spcBef>
                <a:spcPts val="0"/>
              </a:spcBef>
              <a:spcAft>
                <a:spcPts val="0"/>
              </a:spcAft>
              <a:buSzPts val="1400"/>
              <a:buNone/>
              <a:defRPr sz="1400" b="1">
                <a:solidFill>
                  <a:srgbClr val="FFFFFF"/>
                </a:solidFill>
              </a:defRPr>
            </a:lvl1pPr>
            <a:lvl2pPr marL="914400" lvl="1" indent="-228600" algn="ctr">
              <a:spcBef>
                <a:spcPts val="350"/>
              </a:spcBef>
              <a:spcAft>
                <a:spcPts val="0"/>
              </a:spcAft>
              <a:buSzPts val="1600"/>
              <a:buNone/>
              <a:defRPr sz="1600" b="1">
                <a:solidFill>
                  <a:srgbClr val="FFFFFF"/>
                </a:solidFill>
              </a:defRPr>
            </a:lvl2pPr>
            <a:lvl3pPr marL="1371600" lvl="2" indent="-228600" algn="ctr">
              <a:spcBef>
                <a:spcPts val="400"/>
              </a:spcBef>
              <a:spcAft>
                <a:spcPts val="0"/>
              </a:spcAft>
              <a:buSzPts val="1600"/>
              <a:buFont typeface="Arial"/>
              <a:buNone/>
              <a:defRPr sz="1600" b="1">
                <a:solidFill>
                  <a:srgbClr val="FFFFFF"/>
                </a:solidFill>
              </a:defRPr>
            </a:lvl3pPr>
            <a:lvl4pPr marL="1828800" lvl="3" indent="-228600" algn="ctr">
              <a:spcBef>
                <a:spcPts val="400"/>
              </a:spcBef>
              <a:spcAft>
                <a:spcPts val="0"/>
              </a:spcAft>
              <a:buSzPts val="1600"/>
              <a:buNone/>
              <a:defRPr sz="1600" b="1">
                <a:solidFill>
                  <a:srgbClr val="FFFFFF"/>
                </a:solidFill>
              </a:defRPr>
            </a:lvl4pPr>
            <a:lvl5pPr marL="2286000" lvl="4" indent="-228600" algn="ctr">
              <a:spcBef>
                <a:spcPts val="400"/>
              </a:spcBef>
              <a:spcAft>
                <a:spcPts val="0"/>
              </a:spcAft>
              <a:buSzPts val="1600"/>
              <a:buFont typeface="Arial"/>
              <a:buNone/>
              <a:defRPr sz="1600" b="1">
                <a:solidFill>
                  <a:srgbClr val="FFFFFF"/>
                </a:solidFill>
              </a:defRPr>
            </a:lvl5pPr>
            <a:lvl6pPr marL="2743200" lvl="5" indent="-342900" algn="l">
              <a:spcBef>
                <a:spcPts val="4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9" name="Google Shape;309;p50"/>
          <p:cNvSpPr txBox="1">
            <a:spLocks noGrp="1"/>
          </p:cNvSpPr>
          <p:nvPr>
            <p:ph type="body" idx="8"/>
          </p:nvPr>
        </p:nvSpPr>
        <p:spPr>
          <a:xfrm>
            <a:off x="762000" y="4876800"/>
            <a:ext cx="3200400" cy="6286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100"/>
              <a:buNone/>
              <a:defRPr sz="1100">
                <a:solidFill>
                  <a:schemeClr val="dk1"/>
                </a:solidFill>
              </a:defRPr>
            </a:lvl1pPr>
            <a:lvl2pPr marL="914400" lvl="1" indent="-228600" algn="l">
              <a:spcBef>
                <a:spcPts val="275"/>
              </a:spcBef>
              <a:spcAft>
                <a:spcPts val="0"/>
              </a:spcAft>
              <a:buSzPts val="1100"/>
              <a:buNone/>
              <a:defRPr sz="1100">
                <a:solidFill>
                  <a:schemeClr val="dk1"/>
                </a:solidFill>
              </a:defRPr>
            </a:lvl2pPr>
            <a:lvl3pPr marL="1371600" lvl="2" indent="-228600" algn="l">
              <a:spcBef>
                <a:spcPts val="275"/>
              </a:spcBef>
              <a:spcAft>
                <a:spcPts val="0"/>
              </a:spcAft>
              <a:buSzPts val="1100"/>
              <a:buFont typeface="Arial"/>
              <a:buNone/>
              <a:defRPr sz="1100">
                <a:solidFill>
                  <a:schemeClr val="dk1"/>
                </a:solidFill>
              </a:defRPr>
            </a:lvl3pPr>
            <a:lvl4pPr marL="1828800" lvl="3" indent="-228600" algn="l">
              <a:spcBef>
                <a:spcPts val="275"/>
              </a:spcBef>
              <a:spcAft>
                <a:spcPts val="0"/>
              </a:spcAft>
              <a:buSzPts val="1100"/>
              <a:buNone/>
              <a:defRPr sz="1100">
                <a:solidFill>
                  <a:schemeClr val="dk1"/>
                </a:solidFill>
              </a:defRPr>
            </a:lvl4pPr>
            <a:lvl5pPr marL="2286000" lvl="4" indent="-228600" algn="l">
              <a:spcBef>
                <a:spcPts val="275"/>
              </a:spcBef>
              <a:spcAft>
                <a:spcPts val="0"/>
              </a:spcAft>
              <a:buSzPts val="1100"/>
              <a:buFont typeface="Arial"/>
              <a:buNone/>
              <a:defRPr sz="1100">
                <a:solidFill>
                  <a:schemeClr val="dk1"/>
                </a:solidFill>
              </a:defRPr>
            </a:lvl5pPr>
            <a:lvl6pPr marL="2743200" lvl="5" indent="-342900" algn="l">
              <a:spcBef>
                <a:spcPts val="275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0" name="Google Shape;310;p50"/>
          <p:cNvSpPr txBox="1">
            <a:spLocks noGrp="1"/>
          </p:cNvSpPr>
          <p:nvPr>
            <p:ph type="body" idx="9"/>
          </p:nvPr>
        </p:nvSpPr>
        <p:spPr>
          <a:xfrm>
            <a:off x="4518991" y="3366052"/>
            <a:ext cx="3200400" cy="6286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100"/>
              <a:buNone/>
              <a:defRPr sz="1100">
                <a:solidFill>
                  <a:schemeClr val="dk1"/>
                </a:solidFill>
              </a:defRPr>
            </a:lvl1pPr>
            <a:lvl2pPr marL="914400" lvl="1" indent="-228600" algn="l">
              <a:spcBef>
                <a:spcPts val="275"/>
              </a:spcBef>
              <a:spcAft>
                <a:spcPts val="0"/>
              </a:spcAft>
              <a:buSzPts val="1100"/>
              <a:buNone/>
              <a:defRPr sz="1100">
                <a:solidFill>
                  <a:schemeClr val="dk1"/>
                </a:solidFill>
              </a:defRPr>
            </a:lvl2pPr>
            <a:lvl3pPr marL="1371600" lvl="2" indent="-228600" algn="l">
              <a:spcBef>
                <a:spcPts val="275"/>
              </a:spcBef>
              <a:spcAft>
                <a:spcPts val="0"/>
              </a:spcAft>
              <a:buSzPts val="1100"/>
              <a:buFont typeface="Arial"/>
              <a:buNone/>
              <a:defRPr sz="1100">
                <a:solidFill>
                  <a:schemeClr val="dk1"/>
                </a:solidFill>
              </a:defRPr>
            </a:lvl3pPr>
            <a:lvl4pPr marL="1828800" lvl="3" indent="-228600" algn="l">
              <a:spcBef>
                <a:spcPts val="275"/>
              </a:spcBef>
              <a:spcAft>
                <a:spcPts val="0"/>
              </a:spcAft>
              <a:buSzPts val="1100"/>
              <a:buNone/>
              <a:defRPr sz="1100">
                <a:solidFill>
                  <a:schemeClr val="dk1"/>
                </a:solidFill>
              </a:defRPr>
            </a:lvl4pPr>
            <a:lvl5pPr marL="2286000" lvl="4" indent="-228600" algn="l">
              <a:spcBef>
                <a:spcPts val="275"/>
              </a:spcBef>
              <a:spcAft>
                <a:spcPts val="0"/>
              </a:spcAft>
              <a:buSzPts val="1100"/>
              <a:buFont typeface="Arial"/>
              <a:buNone/>
              <a:defRPr sz="1100">
                <a:solidFill>
                  <a:schemeClr val="dk1"/>
                </a:solidFill>
              </a:defRPr>
            </a:lvl5pPr>
            <a:lvl6pPr marL="2743200" lvl="5" indent="-342900" algn="l">
              <a:spcBef>
                <a:spcPts val="275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1" name="Google Shape;311;p50"/>
          <p:cNvSpPr txBox="1">
            <a:spLocks noGrp="1"/>
          </p:cNvSpPr>
          <p:nvPr>
            <p:ph type="body" idx="13"/>
          </p:nvPr>
        </p:nvSpPr>
        <p:spPr>
          <a:xfrm>
            <a:off x="762000" y="3356113"/>
            <a:ext cx="3200400" cy="6286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100"/>
              <a:buNone/>
              <a:defRPr sz="1100">
                <a:solidFill>
                  <a:schemeClr val="dk1"/>
                </a:solidFill>
              </a:defRPr>
            </a:lvl1pPr>
            <a:lvl2pPr marL="914400" lvl="1" indent="-228600" algn="l">
              <a:spcBef>
                <a:spcPts val="275"/>
              </a:spcBef>
              <a:spcAft>
                <a:spcPts val="0"/>
              </a:spcAft>
              <a:buSzPts val="1100"/>
              <a:buNone/>
              <a:defRPr sz="1100">
                <a:solidFill>
                  <a:schemeClr val="dk1"/>
                </a:solidFill>
              </a:defRPr>
            </a:lvl2pPr>
            <a:lvl3pPr marL="1371600" lvl="2" indent="-228600" algn="l">
              <a:spcBef>
                <a:spcPts val="275"/>
              </a:spcBef>
              <a:spcAft>
                <a:spcPts val="0"/>
              </a:spcAft>
              <a:buSzPts val="1100"/>
              <a:buFont typeface="Arial"/>
              <a:buNone/>
              <a:defRPr sz="1100">
                <a:solidFill>
                  <a:schemeClr val="dk1"/>
                </a:solidFill>
              </a:defRPr>
            </a:lvl3pPr>
            <a:lvl4pPr marL="1828800" lvl="3" indent="-228600" algn="l">
              <a:spcBef>
                <a:spcPts val="275"/>
              </a:spcBef>
              <a:spcAft>
                <a:spcPts val="0"/>
              </a:spcAft>
              <a:buSzPts val="1100"/>
              <a:buNone/>
              <a:defRPr sz="1100">
                <a:solidFill>
                  <a:schemeClr val="dk1"/>
                </a:solidFill>
              </a:defRPr>
            </a:lvl4pPr>
            <a:lvl5pPr marL="2286000" lvl="4" indent="-228600" algn="l">
              <a:spcBef>
                <a:spcPts val="275"/>
              </a:spcBef>
              <a:spcAft>
                <a:spcPts val="0"/>
              </a:spcAft>
              <a:buSzPts val="1100"/>
              <a:buFont typeface="Arial"/>
              <a:buNone/>
              <a:defRPr sz="1100">
                <a:solidFill>
                  <a:schemeClr val="dk1"/>
                </a:solidFill>
              </a:defRPr>
            </a:lvl5pPr>
            <a:lvl6pPr marL="2743200" lvl="5" indent="-342900" algn="l">
              <a:spcBef>
                <a:spcPts val="275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" name="Google Shape;40;p32">
            <a:extLst>
              <a:ext uri="{FF2B5EF4-FFF2-40B4-BE49-F238E27FC236}">
                <a16:creationId xmlns:a16="http://schemas.microsoft.com/office/drawing/2014/main" id="{83B0761D-5E9B-B60C-90F2-42AD0CABAB7C}"/>
              </a:ext>
            </a:extLst>
          </p:cNvPr>
          <p:cNvSpPr txBox="1"/>
          <p:nvPr userDrawn="1"/>
        </p:nvSpPr>
        <p:spPr>
          <a:xfrm>
            <a:off x="516835" y="6334236"/>
            <a:ext cx="3550340" cy="2974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None/>
            </a:pPr>
            <a:r>
              <a:rPr lang="ru-RU" sz="12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ЗоРРО</a:t>
            </a:r>
            <a:r>
              <a:rPr lang="ru-RU" sz="1200" b="1" i="0" u="none" strike="noStrike" cap="none" baseline="30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® </a:t>
            </a:r>
            <a:r>
              <a:rPr lang="de-CH" sz="1200" b="1" i="0" u="none" strike="noStrike" cap="none" baseline="30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2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024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| Internal Use Only</a:t>
            </a:r>
            <a:endParaRPr b="0" dirty="0"/>
          </a:p>
        </p:txBody>
      </p:sp>
      <p:pic>
        <p:nvPicPr>
          <p:cNvPr id="3" name="Google Shape;53;p32">
            <a:extLst>
              <a:ext uri="{FF2B5EF4-FFF2-40B4-BE49-F238E27FC236}">
                <a16:creationId xmlns:a16="http://schemas.microsoft.com/office/drawing/2014/main" id="{CF96892C-702D-0E06-217E-DC531E0C95F1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0566400" y="6399249"/>
            <a:ext cx="1205930" cy="16552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4" name="Google Shape;54;p32">
            <a:extLst>
              <a:ext uri="{FF2B5EF4-FFF2-40B4-BE49-F238E27FC236}">
                <a16:creationId xmlns:a16="http://schemas.microsoft.com/office/drawing/2014/main" id="{C0D5B68B-0A96-C191-4932-958B37B290EB}"/>
              </a:ext>
            </a:extLst>
          </p:cNvPr>
          <p:cNvCxnSpPr>
            <a:cxnSpLocks/>
          </p:cNvCxnSpPr>
          <p:nvPr userDrawn="1"/>
        </p:nvCxnSpPr>
        <p:spPr>
          <a:xfrm>
            <a:off x="3743325" y="6492239"/>
            <a:ext cx="6630035" cy="0"/>
          </a:xfrm>
          <a:prstGeom prst="straightConnector1">
            <a:avLst/>
          </a:prstGeom>
          <a:solidFill>
            <a:schemeClr val="accent2"/>
          </a:solidFill>
          <a:ln w="19050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FBB6668C-CE0B-E042-8D4F-C27B974434B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42926" y="397563"/>
            <a:ext cx="1573333" cy="418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3849174"/>
      </p:ext>
    </p:extLst>
  </p:cSld>
  <p:clrMapOvr>
    <a:masterClrMapping/>
  </p:clrMapOvr>
  <p:transition>
    <p:wipe dir="r"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 Divider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08CD2F-DA18-4FBF-A044-60C72558EE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04800"/>
            <a:ext cx="11582400" cy="1229359"/>
          </a:xfrm>
        </p:spPr>
        <p:txBody>
          <a:bodyPr/>
          <a:lstStyle>
            <a:lvl1pPr>
              <a:defRPr sz="2200"/>
            </a:lvl1pPr>
          </a:lstStyle>
          <a:p>
            <a:r>
              <a:rPr lang="en-US"/>
              <a:t>Divider tit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F32484E-A8DB-414A-AB04-DE48F627860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GB"/>
              <a:t>CLASSIFICATION: Internal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6C3ADFF-D878-42C3-90BC-B02D82ED20B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9C47F3-E74D-462A-9E9A-E7164C68AF7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CB735269-B8F5-4C02-A55E-0834620F9D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04800" y="1619531"/>
            <a:ext cx="11582397" cy="4628869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090668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&amp;A" preserve="1">
  <p:cSld name="Q&amp;A">
    <p:bg>
      <p:bgPr>
        <a:solidFill>
          <a:schemeClr val="dk2"/>
        </a:solidFill>
        <a:effectLst/>
      </p:bgPr>
    </p:bg>
    <p:spTree>
      <p:nvGrpSpPr>
        <p:cNvPr id="1" name="Shape 3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" name="Google Shape;315;p51"/>
          <p:cNvSpPr txBox="1">
            <a:spLocks noGrp="1"/>
          </p:cNvSpPr>
          <p:nvPr>
            <p:ph type="title"/>
          </p:nvPr>
        </p:nvSpPr>
        <p:spPr>
          <a:xfrm>
            <a:off x="3962400" y="3112437"/>
            <a:ext cx="7743825" cy="6331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6000">
                <a:solidFill>
                  <a:schemeClr val="dk1"/>
                </a:solidFill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16" name="Google Shape;316;p51"/>
          <p:cNvPicPr preferRelativeResize="0"/>
          <p:nvPr/>
        </p:nvPicPr>
        <p:blipFill rotWithShape="1">
          <a:blip r:embed="rId2">
            <a:alphaModFix/>
          </a:blip>
          <a:srcRect r="42995" b="1323"/>
          <a:stretch/>
        </p:blipFill>
        <p:spPr>
          <a:xfrm>
            <a:off x="0" y="0"/>
            <a:ext cx="6067801" cy="68652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CD050AC-5CC0-E33F-51ED-9C0273AE20B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16834" y="3151101"/>
            <a:ext cx="2258263" cy="600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1802674"/>
      </p:ext>
    </p:extLst>
  </p:cSld>
  <p:clrMapOvr>
    <a:masterClrMapping/>
  </p:clrMapOvr>
  <p:transition>
    <p:wipe dir="r"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 preserve="1">
  <p:cSld name="1_Title and Content">
    <p:spTree>
      <p:nvGrpSpPr>
        <p:cNvPr id="1" name="Shape 3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9" name="Google Shape;319;p52"/>
          <p:cNvPicPr preferRelativeResize="0"/>
          <p:nvPr/>
        </p:nvPicPr>
        <p:blipFill rotWithShape="1">
          <a:blip r:embed="rId2">
            <a:alphaModFix/>
          </a:blip>
          <a:srcRect l="50000" r="18360"/>
          <a:stretch/>
        </p:blipFill>
        <p:spPr>
          <a:xfrm rot="-5400000">
            <a:off x="2667002" y="-2667003"/>
            <a:ext cx="6858002" cy="12192003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320" name="Google Shape;320;p52"/>
          <p:cNvCxnSpPr/>
          <p:nvPr/>
        </p:nvCxnSpPr>
        <p:spPr>
          <a:xfrm>
            <a:off x="0" y="6492239"/>
            <a:ext cx="10373360" cy="0"/>
          </a:xfrm>
          <a:prstGeom prst="straightConnector1">
            <a:avLst/>
          </a:prstGeom>
          <a:solidFill>
            <a:schemeClr val="accent2"/>
          </a:solidFill>
          <a:ln w="19050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322" name="Google Shape;322;p5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566400" y="6399249"/>
            <a:ext cx="1205930" cy="165520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FE89AA0-3438-2912-12AA-0D8FBA0F2E6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803436" y="3061488"/>
            <a:ext cx="2764010" cy="7350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936961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Iphone (clear)" preserve="1">
  <p:cSld name="Title + Iphone (clear)">
    <p:spTree>
      <p:nvGrpSpPr>
        <p:cNvPr id="1" name="Shape 3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4" name="Google Shape;324;p53"/>
          <p:cNvSpPr/>
          <p:nvPr/>
        </p:nvSpPr>
        <p:spPr>
          <a:xfrm>
            <a:off x="0" y="0"/>
            <a:ext cx="11132288" cy="5869172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0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5" name="Google Shape;325;p53"/>
          <p:cNvSpPr txBox="1">
            <a:spLocks noGrp="1"/>
          </p:cNvSpPr>
          <p:nvPr>
            <p:ph type="sldNum" idx="12"/>
          </p:nvPr>
        </p:nvSpPr>
        <p:spPr>
          <a:xfrm>
            <a:off x="10512506" y="375991"/>
            <a:ext cx="1259824" cy="20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28" name="Google Shape;328;p53"/>
          <p:cNvSpPr txBox="1">
            <a:spLocks noGrp="1"/>
          </p:cNvSpPr>
          <p:nvPr>
            <p:ph type="title"/>
          </p:nvPr>
        </p:nvSpPr>
        <p:spPr>
          <a:xfrm>
            <a:off x="542925" y="1257677"/>
            <a:ext cx="5553075" cy="81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200">
                <a:solidFill>
                  <a:schemeClr val="accent1"/>
                </a:solidFill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29" name="Google Shape;329;p5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8569880" y="988828"/>
            <a:ext cx="2298897" cy="4581939"/>
          </a:xfrm>
          <a:prstGeom prst="rect">
            <a:avLst/>
          </a:prstGeom>
          <a:noFill/>
          <a:ln>
            <a:noFill/>
          </a:ln>
        </p:spPr>
      </p:pic>
      <p:sp>
        <p:nvSpPr>
          <p:cNvPr id="330" name="Google Shape;330;p53"/>
          <p:cNvSpPr>
            <a:spLocks noGrp="1"/>
          </p:cNvSpPr>
          <p:nvPr>
            <p:ph type="pic" idx="2"/>
          </p:nvPr>
        </p:nvSpPr>
        <p:spPr>
          <a:xfrm>
            <a:off x="8716963" y="1103313"/>
            <a:ext cx="2047875" cy="4322762"/>
          </a:xfrm>
          <a:prstGeom prst="rect">
            <a:avLst/>
          </a:prstGeom>
          <a:noFill/>
          <a:ln>
            <a:noFill/>
          </a:ln>
        </p:spPr>
      </p:sp>
      <p:sp>
        <p:nvSpPr>
          <p:cNvPr id="2" name="Google Shape;40;p32">
            <a:extLst>
              <a:ext uri="{FF2B5EF4-FFF2-40B4-BE49-F238E27FC236}">
                <a16:creationId xmlns:a16="http://schemas.microsoft.com/office/drawing/2014/main" id="{FB99A690-9906-7FC7-33B5-9091835FBE3A}"/>
              </a:ext>
            </a:extLst>
          </p:cNvPr>
          <p:cNvSpPr txBox="1"/>
          <p:nvPr userDrawn="1"/>
        </p:nvSpPr>
        <p:spPr>
          <a:xfrm>
            <a:off x="516835" y="6334236"/>
            <a:ext cx="3550340" cy="2974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None/>
            </a:pPr>
            <a:r>
              <a:rPr lang="ru-RU" sz="12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ЗоРРО</a:t>
            </a:r>
            <a:r>
              <a:rPr lang="ru-RU" sz="1200" b="1" i="0" u="none" strike="noStrike" cap="none" baseline="30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® </a:t>
            </a:r>
            <a:r>
              <a:rPr lang="de-CH" sz="1200" b="1" i="0" u="none" strike="noStrike" cap="none" baseline="30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2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024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| Internal Use Only</a:t>
            </a:r>
            <a:endParaRPr b="0" dirty="0"/>
          </a:p>
        </p:txBody>
      </p:sp>
      <p:pic>
        <p:nvPicPr>
          <p:cNvPr id="3" name="Google Shape;53;p32">
            <a:extLst>
              <a:ext uri="{FF2B5EF4-FFF2-40B4-BE49-F238E27FC236}">
                <a16:creationId xmlns:a16="http://schemas.microsoft.com/office/drawing/2014/main" id="{E037FCAE-5B1E-E6CE-0554-21F93BB667E4}"/>
              </a:ext>
            </a:extLst>
          </p:cNvPr>
          <p:cNvPicPr preferRelativeResize="0"/>
          <p:nvPr userDrawn="1"/>
        </p:nvPicPr>
        <p:blipFill rotWithShape="1">
          <a:blip r:embed="rId3">
            <a:alphaModFix/>
          </a:blip>
          <a:srcRect/>
          <a:stretch/>
        </p:blipFill>
        <p:spPr>
          <a:xfrm>
            <a:off x="10566400" y="6399249"/>
            <a:ext cx="1205930" cy="16552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4" name="Google Shape;54;p32">
            <a:extLst>
              <a:ext uri="{FF2B5EF4-FFF2-40B4-BE49-F238E27FC236}">
                <a16:creationId xmlns:a16="http://schemas.microsoft.com/office/drawing/2014/main" id="{867963BF-030E-4BF5-6A36-DB826A295FDF}"/>
              </a:ext>
            </a:extLst>
          </p:cNvPr>
          <p:cNvCxnSpPr>
            <a:cxnSpLocks/>
          </p:cNvCxnSpPr>
          <p:nvPr userDrawn="1"/>
        </p:nvCxnSpPr>
        <p:spPr>
          <a:xfrm>
            <a:off x="3743325" y="6492239"/>
            <a:ext cx="6630035" cy="0"/>
          </a:xfrm>
          <a:prstGeom prst="straightConnector1">
            <a:avLst/>
          </a:prstGeom>
          <a:solidFill>
            <a:schemeClr val="accent2"/>
          </a:solidFill>
          <a:ln w="19050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41511A83-3085-5440-9AAA-FA5B13328FB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42926" y="397563"/>
            <a:ext cx="1573333" cy="418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4118616"/>
      </p:ext>
    </p:extLst>
  </p:cSld>
  <p:clrMapOvr>
    <a:masterClrMapping/>
  </p:clrMapOvr>
  <p:transition>
    <p:wipe dir="r"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eader + Title + Content + Iphone (dark)" preserve="1">
  <p:cSld name="Header + Title + Content + Iphone (dark)">
    <p:bg>
      <p:bgPr>
        <a:solidFill>
          <a:schemeClr val="lt1"/>
        </a:solidFill>
        <a:effectLst/>
      </p:bgPr>
    </p:bg>
    <p:spTree>
      <p:nvGrpSpPr>
        <p:cNvPr id="1" name="Shape 3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4" name="Google Shape;334;p54"/>
          <p:cNvPicPr preferRelativeResize="0"/>
          <p:nvPr/>
        </p:nvPicPr>
        <p:blipFill rotWithShape="1">
          <a:blip r:embed="rId2">
            <a:alphaModFix/>
          </a:blip>
          <a:srcRect l="50000" r="18360"/>
          <a:stretch/>
        </p:blipFill>
        <p:spPr>
          <a:xfrm rot="-5400000">
            <a:off x="2667002" y="-2667003"/>
            <a:ext cx="6858002" cy="12192003"/>
          </a:xfrm>
          <a:prstGeom prst="rect">
            <a:avLst/>
          </a:prstGeom>
          <a:noFill/>
          <a:ln>
            <a:noFill/>
          </a:ln>
        </p:spPr>
      </p:pic>
      <p:sp>
        <p:nvSpPr>
          <p:cNvPr id="335" name="Google Shape;335;p54"/>
          <p:cNvSpPr/>
          <p:nvPr/>
        </p:nvSpPr>
        <p:spPr>
          <a:xfrm>
            <a:off x="0" y="0"/>
            <a:ext cx="11132288" cy="5869172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6" name="Google Shape;336;p54"/>
          <p:cNvSpPr txBox="1">
            <a:spLocks noGrp="1"/>
          </p:cNvSpPr>
          <p:nvPr>
            <p:ph type="sldNum" idx="12"/>
          </p:nvPr>
        </p:nvSpPr>
        <p:spPr>
          <a:xfrm>
            <a:off x="10512506" y="375991"/>
            <a:ext cx="1259824" cy="20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339" name="Google Shape;339;p5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569880" y="988828"/>
            <a:ext cx="2298897" cy="4581939"/>
          </a:xfrm>
          <a:prstGeom prst="rect">
            <a:avLst/>
          </a:prstGeom>
          <a:noFill/>
          <a:ln>
            <a:noFill/>
          </a:ln>
        </p:spPr>
      </p:pic>
      <p:sp>
        <p:nvSpPr>
          <p:cNvPr id="340" name="Google Shape;340;p54"/>
          <p:cNvSpPr>
            <a:spLocks noGrp="1"/>
          </p:cNvSpPr>
          <p:nvPr>
            <p:ph type="pic" idx="2"/>
          </p:nvPr>
        </p:nvSpPr>
        <p:spPr>
          <a:xfrm>
            <a:off x="8716963" y="1103313"/>
            <a:ext cx="2047875" cy="4322762"/>
          </a:xfrm>
          <a:prstGeom prst="rect">
            <a:avLst/>
          </a:prstGeom>
          <a:noFill/>
          <a:ln>
            <a:noFill/>
          </a:ln>
        </p:spPr>
      </p:sp>
      <p:sp>
        <p:nvSpPr>
          <p:cNvPr id="341" name="Google Shape;341;p54"/>
          <p:cNvSpPr txBox="1">
            <a:spLocks noGrp="1"/>
          </p:cNvSpPr>
          <p:nvPr>
            <p:ph type="title"/>
          </p:nvPr>
        </p:nvSpPr>
        <p:spPr>
          <a:xfrm>
            <a:off x="542926" y="1427277"/>
            <a:ext cx="7077074" cy="81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2"/>
                </a:solidFill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2" name="Google Shape;342;p54"/>
          <p:cNvSpPr txBox="1">
            <a:spLocks noGrp="1"/>
          </p:cNvSpPr>
          <p:nvPr>
            <p:ph type="body" idx="1"/>
          </p:nvPr>
        </p:nvSpPr>
        <p:spPr>
          <a:xfrm>
            <a:off x="542925" y="2447173"/>
            <a:ext cx="7077075" cy="27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2"/>
                </a:solidFill>
              </a:defRPr>
            </a:lvl1pPr>
            <a:lvl2pPr marL="914400" lvl="1" indent="-228600" algn="l">
              <a:spcBef>
                <a:spcPts val="350"/>
              </a:spcBef>
              <a:spcAft>
                <a:spcPts val="0"/>
              </a:spcAft>
              <a:buSzPts val="1200"/>
              <a:buNone/>
              <a:defRPr sz="1200">
                <a:solidFill>
                  <a:schemeClr val="dk2"/>
                </a:solidFill>
              </a:defRPr>
            </a:lvl2pPr>
            <a:lvl3pPr marL="1371600" lvl="2" indent="-228600" algn="l">
              <a:spcBef>
                <a:spcPts val="300"/>
              </a:spcBef>
              <a:spcAft>
                <a:spcPts val="0"/>
              </a:spcAft>
              <a:buSzPts val="1000"/>
              <a:buFont typeface="Arial"/>
              <a:buNone/>
              <a:defRPr sz="1000">
                <a:solidFill>
                  <a:schemeClr val="dk2"/>
                </a:solidFill>
              </a:defRPr>
            </a:lvl3pPr>
            <a:lvl4pPr marL="1828800" lvl="3" indent="-228600" algn="l">
              <a:spcBef>
                <a:spcPts val="250"/>
              </a:spcBef>
              <a:spcAft>
                <a:spcPts val="0"/>
              </a:spcAft>
              <a:buSzPts val="1000"/>
              <a:buNone/>
              <a:defRPr sz="1000">
                <a:solidFill>
                  <a:schemeClr val="dk2"/>
                </a:solidFill>
              </a:defRPr>
            </a:lvl4pPr>
            <a:lvl5pPr marL="2286000" lvl="4" indent="-228600" algn="l">
              <a:spcBef>
                <a:spcPts val="250"/>
              </a:spcBef>
              <a:spcAft>
                <a:spcPts val="0"/>
              </a:spcAft>
              <a:buSzPts val="1000"/>
              <a:buFont typeface="Arial"/>
              <a:buNone/>
              <a:defRPr sz="1000">
                <a:solidFill>
                  <a:schemeClr val="dk2"/>
                </a:solidFill>
              </a:defRPr>
            </a:lvl5pPr>
            <a:lvl6pPr marL="2743200" lvl="5" indent="-342900" algn="l">
              <a:spcBef>
                <a:spcPts val="25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3" name="Google Shape;343;p54"/>
          <p:cNvSpPr txBox="1">
            <a:spLocks noGrp="1"/>
          </p:cNvSpPr>
          <p:nvPr>
            <p:ph type="body" idx="3"/>
          </p:nvPr>
        </p:nvSpPr>
        <p:spPr>
          <a:xfrm>
            <a:off x="542926" y="914400"/>
            <a:ext cx="7087042" cy="22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lt2"/>
                </a:solidFill>
              </a:defRPr>
            </a:lvl1pPr>
            <a:lvl2pPr marL="914400" lvl="1" indent="-228600" algn="l">
              <a:spcBef>
                <a:spcPts val="300"/>
              </a:spcBef>
              <a:spcAft>
                <a:spcPts val="0"/>
              </a:spcAft>
              <a:buSzPts val="1200"/>
              <a:buNone/>
              <a:defRPr sz="1200" b="1">
                <a:solidFill>
                  <a:schemeClr val="lt2"/>
                </a:solidFill>
              </a:defRPr>
            </a:lvl2pPr>
            <a:lvl3pPr marL="1371600" lvl="2" indent="-228600" algn="l">
              <a:spcBef>
                <a:spcPts val="300"/>
              </a:spcBef>
              <a:spcAft>
                <a:spcPts val="0"/>
              </a:spcAft>
              <a:buSzPts val="1200"/>
              <a:buFont typeface="Arial"/>
              <a:buNone/>
              <a:defRPr sz="1200" b="1">
                <a:solidFill>
                  <a:schemeClr val="lt2"/>
                </a:solidFill>
              </a:defRPr>
            </a:lvl3pPr>
            <a:lvl4pPr marL="1828800" lvl="3" indent="-228600" algn="l">
              <a:spcBef>
                <a:spcPts val="300"/>
              </a:spcBef>
              <a:spcAft>
                <a:spcPts val="0"/>
              </a:spcAft>
              <a:buSzPts val="1200"/>
              <a:buNone/>
              <a:defRPr sz="1200" b="1">
                <a:solidFill>
                  <a:schemeClr val="lt2"/>
                </a:solidFill>
              </a:defRPr>
            </a:lvl4pPr>
            <a:lvl5pPr marL="2286000" lvl="4" indent="-228600" algn="l">
              <a:spcBef>
                <a:spcPts val="300"/>
              </a:spcBef>
              <a:spcAft>
                <a:spcPts val="0"/>
              </a:spcAft>
              <a:buSzPts val="1200"/>
              <a:buFont typeface="Arial"/>
              <a:buNone/>
              <a:defRPr sz="1200" b="1">
                <a:solidFill>
                  <a:schemeClr val="lt2"/>
                </a:solidFill>
              </a:defRPr>
            </a:lvl5pPr>
            <a:lvl6pPr marL="2743200" lvl="5" indent="-342900" algn="l">
              <a:spcBef>
                <a:spcPts val="3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" name="Google Shape;112;p38">
            <a:extLst>
              <a:ext uri="{FF2B5EF4-FFF2-40B4-BE49-F238E27FC236}">
                <a16:creationId xmlns:a16="http://schemas.microsoft.com/office/drawing/2014/main" id="{1BA33C97-78BD-5C4E-B312-345906EE2CD2}"/>
              </a:ext>
            </a:extLst>
          </p:cNvPr>
          <p:cNvPicPr preferRelativeResize="0"/>
          <p:nvPr userDrawn="1"/>
        </p:nvPicPr>
        <p:blipFill rotWithShape="1">
          <a:blip r:embed="rId4">
            <a:alphaModFix/>
          </a:blip>
          <a:srcRect/>
          <a:stretch/>
        </p:blipFill>
        <p:spPr>
          <a:xfrm>
            <a:off x="10566400" y="6399249"/>
            <a:ext cx="1205930" cy="16552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3" name="Google Shape;54;p32">
            <a:extLst>
              <a:ext uri="{FF2B5EF4-FFF2-40B4-BE49-F238E27FC236}">
                <a16:creationId xmlns:a16="http://schemas.microsoft.com/office/drawing/2014/main" id="{F51112F3-43DF-C88D-BE41-A3271EF49A3E}"/>
              </a:ext>
            </a:extLst>
          </p:cNvPr>
          <p:cNvCxnSpPr>
            <a:cxnSpLocks/>
          </p:cNvCxnSpPr>
          <p:nvPr userDrawn="1"/>
        </p:nvCxnSpPr>
        <p:spPr>
          <a:xfrm>
            <a:off x="3743325" y="6492239"/>
            <a:ext cx="6630035" cy="0"/>
          </a:xfrm>
          <a:prstGeom prst="straightConnector1">
            <a:avLst/>
          </a:prstGeom>
          <a:solidFill>
            <a:schemeClr val="accent2"/>
          </a:solidFill>
          <a:ln w="19050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4" name="Google Shape;40;p32">
            <a:extLst>
              <a:ext uri="{FF2B5EF4-FFF2-40B4-BE49-F238E27FC236}">
                <a16:creationId xmlns:a16="http://schemas.microsoft.com/office/drawing/2014/main" id="{95848EC8-9BF6-489A-17BC-53007CFC11B5}"/>
              </a:ext>
            </a:extLst>
          </p:cNvPr>
          <p:cNvSpPr txBox="1"/>
          <p:nvPr userDrawn="1"/>
        </p:nvSpPr>
        <p:spPr>
          <a:xfrm>
            <a:off x="516835" y="6334236"/>
            <a:ext cx="3550340" cy="2974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None/>
            </a:pPr>
            <a:r>
              <a:rPr lang="ru-RU" sz="1200" b="1" i="0" u="none" strike="noStrike" cap="none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ЗоРРО</a:t>
            </a:r>
            <a:r>
              <a:rPr lang="ru-RU" sz="1200" b="1" i="0" u="none" strike="noStrike" cap="none" baseline="3000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® </a:t>
            </a:r>
            <a:r>
              <a:rPr lang="de-CH" sz="1200" b="1" i="0" u="none" strike="noStrike" cap="none" baseline="3000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200" b="1" i="0" u="none" strike="noStrike" cap="none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2024 </a:t>
            </a:r>
            <a:r>
              <a:rPr lang="en-US" sz="1200" b="0" i="0" u="none" strike="noStrike" cap="none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| Internal Use Only</a:t>
            </a:r>
            <a:endParaRPr b="0" dirty="0">
              <a:solidFill>
                <a:srgbClr val="FFFFFF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1CBBC14-9EE0-1DD1-3DB2-0A926398149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41773" y="397563"/>
            <a:ext cx="1573333" cy="418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1363592"/>
      </p:ext>
    </p:extLst>
  </p:cSld>
  <p:clrMapOvr>
    <a:masterClrMapping/>
  </p:clrMapOvr>
  <p:transition>
    <p:wipe dir="r"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Square photo (dark)" preserve="1">
  <p:cSld name="Title + Square photo (dark)">
    <p:bg>
      <p:bgPr>
        <a:solidFill>
          <a:schemeClr val="lt1"/>
        </a:solidFill>
        <a:effectLst/>
      </p:bgPr>
    </p:bg>
    <p:spTree>
      <p:nvGrpSpPr>
        <p:cNvPr id="1" name="Shape 3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7" name="Google Shape;347;p55"/>
          <p:cNvPicPr preferRelativeResize="0"/>
          <p:nvPr/>
        </p:nvPicPr>
        <p:blipFill rotWithShape="1">
          <a:blip r:embed="rId2">
            <a:alphaModFix/>
          </a:blip>
          <a:srcRect l="50000" r="18360"/>
          <a:stretch/>
        </p:blipFill>
        <p:spPr>
          <a:xfrm rot="-5400000">
            <a:off x="2667002" y="-2667003"/>
            <a:ext cx="6858002" cy="12192003"/>
          </a:xfrm>
          <a:prstGeom prst="rect">
            <a:avLst/>
          </a:prstGeom>
          <a:noFill/>
          <a:ln>
            <a:noFill/>
          </a:ln>
        </p:spPr>
      </p:pic>
      <p:sp>
        <p:nvSpPr>
          <p:cNvPr id="348" name="Google Shape;348;p55"/>
          <p:cNvSpPr/>
          <p:nvPr/>
        </p:nvSpPr>
        <p:spPr>
          <a:xfrm>
            <a:off x="0" y="0"/>
            <a:ext cx="11132288" cy="5869172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0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9" name="Google Shape;349;p55"/>
          <p:cNvSpPr>
            <a:spLocks noGrp="1"/>
          </p:cNvSpPr>
          <p:nvPr>
            <p:ph type="pic" idx="2"/>
          </p:nvPr>
        </p:nvSpPr>
        <p:spPr>
          <a:xfrm>
            <a:off x="7561227" y="1257677"/>
            <a:ext cx="4228724" cy="4228723"/>
          </a:xfrm>
          <a:prstGeom prst="rect">
            <a:avLst/>
          </a:prstGeom>
          <a:noFill/>
          <a:ln>
            <a:noFill/>
          </a:ln>
        </p:spPr>
      </p:sp>
      <p:sp>
        <p:nvSpPr>
          <p:cNvPr id="350" name="Google Shape;350;p55"/>
          <p:cNvSpPr txBox="1">
            <a:spLocks noGrp="1"/>
          </p:cNvSpPr>
          <p:nvPr>
            <p:ph type="sldNum" idx="12"/>
          </p:nvPr>
        </p:nvSpPr>
        <p:spPr>
          <a:xfrm>
            <a:off x="10512506" y="375991"/>
            <a:ext cx="1259824" cy="20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53" name="Google Shape;353;p55"/>
          <p:cNvSpPr txBox="1">
            <a:spLocks noGrp="1"/>
          </p:cNvSpPr>
          <p:nvPr>
            <p:ph type="title"/>
          </p:nvPr>
        </p:nvSpPr>
        <p:spPr>
          <a:xfrm>
            <a:off x="542925" y="1257677"/>
            <a:ext cx="5553075" cy="81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200">
                <a:solidFill>
                  <a:schemeClr val="dk2"/>
                </a:solidFill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" name="Google Shape;112;p38">
            <a:extLst>
              <a:ext uri="{FF2B5EF4-FFF2-40B4-BE49-F238E27FC236}">
                <a16:creationId xmlns:a16="http://schemas.microsoft.com/office/drawing/2014/main" id="{9BAD8051-6D7F-AF80-1EC1-7D06C460E676}"/>
              </a:ext>
            </a:extLst>
          </p:cNvPr>
          <p:cNvPicPr preferRelativeResize="0"/>
          <p:nvPr userDrawn="1"/>
        </p:nvPicPr>
        <p:blipFill rotWithShape="1">
          <a:blip r:embed="rId3">
            <a:alphaModFix/>
          </a:blip>
          <a:srcRect/>
          <a:stretch/>
        </p:blipFill>
        <p:spPr>
          <a:xfrm>
            <a:off x="10566400" y="6399249"/>
            <a:ext cx="1205930" cy="16552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3" name="Google Shape;54;p32">
            <a:extLst>
              <a:ext uri="{FF2B5EF4-FFF2-40B4-BE49-F238E27FC236}">
                <a16:creationId xmlns:a16="http://schemas.microsoft.com/office/drawing/2014/main" id="{B7E88F4D-5C98-D2B4-BB16-8FDF096A2A31}"/>
              </a:ext>
            </a:extLst>
          </p:cNvPr>
          <p:cNvCxnSpPr>
            <a:cxnSpLocks/>
          </p:cNvCxnSpPr>
          <p:nvPr userDrawn="1"/>
        </p:nvCxnSpPr>
        <p:spPr>
          <a:xfrm>
            <a:off x="3743325" y="6492239"/>
            <a:ext cx="6630035" cy="0"/>
          </a:xfrm>
          <a:prstGeom prst="straightConnector1">
            <a:avLst/>
          </a:prstGeom>
          <a:solidFill>
            <a:schemeClr val="accent2"/>
          </a:solidFill>
          <a:ln w="19050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4" name="Google Shape;40;p32">
            <a:extLst>
              <a:ext uri="{FF2B5EF4-FFF2-40B4-BE49-F238E27FC236}">
                <a16:creationId xmlns:a16="http://schemas.microsoft.com/office/drawing/2014/main" id="{4759B38F-8C23-D12F-ECBC-AF4EB57E5701}"/>
              </a:ext>
            </a:extLst>
          </p:cNvPr>
          <p:cNvSpPr txBox="1"/>
          <p:nvPr userDrawn="1"/>
        </p:nvSpPr>
        <p:spPr>
          <a:xfrm>
            <a:off x="516835" y="6334236"/>
            <a:ext cx="3550340" cy="2974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None/>
            </a:pPr>
            <a:r>
              <a:rPr lang="ru-RU" sz="1200" b="1" i="0" u="none" strike="noStrike" cap="none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ЗоРРО</a:t>
            </a:r>
            <a:r>
              <a:rPr lang="ru-RU" sz="1200" b="1" i="0" u="none" strike="noStrike" cap="none" baseline="3000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® </a:t>
            </a:r>
            <a:r>
              <a:rPr lang="de-CH" sz="1200" b="1" i="0" u="none" strike="noStrike" cap="none" baseline="3000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200" b="1" i="0" u="none" strike="noStrike" cap="none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2024 </a:t>
            </a:r>
            <a:r>
              <a:rPr lang="en-US" sz="1200" b="0" i="0" u="none" strike="noStrike" cap="none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| Internal Use Only</a:t>
            </a:r>
            <a:endParaRPr b="0" dirty="0">
              <a:solidFill>
                <a:srgbClr val="FFFFFF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FCE4A38-6054-BB8C-5964-F62BA866F40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41773" y="397563"/>
            <a:ext cx="1573333" cy="418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5037842"/>
      </p:ext>
    </p:extLst>
  </p:cSld>
  <p:clrMapOvr>
    <a:masterClrMapping/>
  </p:clrMapOvr>
  <p:transition>
    <p:wipe dir="r"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Content + Square photo (clear)" preserve="1">
  <p:cSld name="Title + Content + Square photo (clear)">
    <p:spTree>
      <p:nvGrpSpPr>
        <p:cNvPr id="1" name="Shape 3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7" name="Google Shape;357;p56"/>
          <p:cNvSpPr/>
          <p:nvPr/>
        </p:nvSpPr>
        <p:spPr>
          <a:xfrm>
            <a:off x="0" y="0"/>
            <a:ext cx="11132288" cy="5869172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0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58" name="Google Shape;358;p56"/>
          <p:cNvSpPr txBox="1">
            <a:spLocks noGrp="1"/>
          </p:cNvSpPr>
          <p:nvPr>
            <p:ph type="title"/>
          </p:nvPr>
        </p:nvSpPr>
        <p:spPr>
          <a:xfrm>
            <a:off x="542926" y="1427277"/>
            <a:ext cx="7077074" cy="81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accent1"/>
                </a:solidFill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9" name="Google Shape;359;p56"/>
          <p:cNvSpPr txBox="1">
            <a:spLocks noGrp="1"/>
          </p:cNvSpPr>
          <p:nvPr>
            <p:ph type="sldNum" idx="12"/>
          </p:nvPr>
        </p:nvSpPr>
        <p:spPr>
          <a:xfrm>
            <a:off x="10512506" y="375991"/>
            <a:ext cx="1259824" cy="20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60" name="Google Shape;360;p56"/>
          <p:cNvSpPr txBox="1">
            <a:spLocks noGrp="1"/>
          </p:cNvSpPr>
          <p:nvPr>
            <p:ph type="body" idx="1"/>
          </p:nvPr>
        </p:nvSpPr>
        <p:spPr>
          <a:xfrm>
            <a:off x="542925" y="2447173"/>
            <a:ext cx="7077075" cy="27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marL="914400" lvl="1" indent="-228600" algn="l">
              <a:spcBef>
                <a:spcPts val="35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spcBef>
                <a:spcPts val="300"/>
              </a:spcBef>
              <a:spcAft>
                <a:spcPts val="0"/>
              </a:spcAft>
              <a:buSzPts val="1000"/>
              <a:buFont typeface="Arial"/>
              <a:buNone/>
              <a:defRPr sz="1000"/>
            </a:lvl3pPr>
            <a:lvl4pPr marL="1828800" lvl="3" indent="-228600" algn="l">
              <a:spcBef>
                <a:spcPts val="250"/>
              </a:spcBef>
              <a:spcAft>
                <a:spcPts val="0"/>
              </a:spcAft>
              <a:buSzPts val="1000"/>
              <a:buNone/>
              <a:defRPr sz="1000"/>
            </a:lvl4pPr>
            <a:lvl5pPr marL="2286000" lvl="4" indent="-228600" algn="l">
              <a:spcBef>
                <a:spcPts val="250"/>
              </a:spcBef>
              <a:spcAft>
                <a:spcPts val="0"/>
              </a:spcAft>
              <a:buSzPts val="1000"/>
              <a:buFont typeface="Arial"/>
              <a:buNone/>
              <a:defRPr sz="1000"/>
            </a:lvl5pPr>
            <a:lvl6pPr marL="2743200" lvl="5" indent="-342900" algn="l">
              <a:spcBef>
                <a:spcPts val="25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3" name="Google Shape;363;p56"/>
          <p:cNvSpPr txBox="1">
            <a:spLocks noGrp="1"/>
          </p:cNvSpPr>
          <p:nvPr>
            <p:ph type="body" idx="2"/>
          </p:nvPr>
        </p:nvSpPr>
        <p:spPr>
          <a:xfrm>
            <a:off x="542926" y="914400"/>
            <a:ext cx="7087042" cy="22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200"/>
              <a:buNone/>
              <a:defRPr sz="1200" b="1">
                <a:solidFill>
                  <a:schemeClr val="lt2"/>
                </a:solidFill>
              </a:defRPr>
            </a:lvl1pPr>
            <a:lvl2pPr marL="914400" lvl="1" indent="-228600" algn="l">
              <a:spcBef>
                <a:spcPts val="300"/>
              </a:spcBef>
              <a:spcAft>
                <a:spcPts val="0"/>
              </a:spcAft>
              <a:buSzPts val="1200"/>
              <a:buNone/>
              <a:defRPr sz="1200" b="1">
                <a:solidFill>
                  <a:schemeClr val="lt2"/>
                </a:solidFill>
              </a:defRPr>
            </a:lvl2pPr>
            <a:lvl3pPr marL="1371600" lvl="2" indent="-228600" algn="l">
              <a:spcBef>
                <a:spcPts val="300"/>
              </a:spcBef>
              <a:spcAft>
                <a:spcPts val="0"/>
              </a:spcAft>
              <a:buSzPts val="1200"/>
              <a:buFont typeface="Arial"/>
              <a:buNone/>
              <a:defRPr sz="1200" b="1">
                <a:solidFill>
                  <a:schemeClr val="lt2"/>
                </a:solidFill>
              </a:defRPr>
            </a:lvl3pPr>
            <a:lvl4pPr marL="1828800" lvl="3" indent="-228600" algn="l">
              <a:spcBef>
                <a:spcPts val="300"/>
              </a:spcBef>
              <a:spcAft>
                <a:spcPts val="0"/>
              </a:spcAft>
              <a:buSzPts val="1200"/>
              <a:buNone/>
              <a:defRPr sz="1200" b="1">
                <a:solidFill>
                  <a:schemeClr val="lt2"/>
                </a:solidFill>
              </a:defRPr>
            </a:lvl4pPr>
            <a:lvl5pPr marL="2286000" lvl="4" indent="-228600" algn="l">
              <a:spcBef>
                <a:spcPts val="300"/>
              </a:spcBef>
              <a:spcAft>
                <a:spcPts val="0"/>
              </a:spcAft>
              <a:buSzPts val="1200"/>
              <a:buFont typeface="Arial"/>
              <a:buNone/>
              <a:defRPr sz="1200" b="1">
                <a:solidFill>
                  <a:schemeClr val="lt2"/>
                </a:solidFill>
              </a:defRPr>
            </a:lvl5pPr>
            <a:lvl6pPr marL="2743200" lvl="5" indent="-342900" algn="l">
              <a:spcBef>
                <a:spcPts val="3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4" name="Google Shape;364;p56"/>
          <p:cNvSpPr>
            <a:spLocks noGrp="1"/>
          </p:cNvSpPr>
          <p:nvPr>
            <p:ph type="pic" idx="3"/>
          </p:nvPr>
        </p:nvSpPr>
        <p:spPr>
          <a:xfrm>
            <a:off x="7561227" y="1257677"/>
            <a:ext cx="4228724" cy="4228723"/>
          </a:xfrm>
          <a:prstGeom prst="rect">
            <a:avLst/>
          </a:prstGeom>
          <a:noFill/>
          <a:ln>
            <a:noFill/>
          </a:ln>
        </p:spPr>
      </p:sp>
      <p:sp>
        <p:nvSpPr>
          <p:cNvPr id="2" name="Google Shape;40;p32">
            <a:extLst>
              <a:ext uri="{FF2B5EF4-FFF2-40B4-BE49-F238E27FC236}">
                <a16:creationId xmlns:a16="http://schemas.microsoft.com/office/drawing/2014/main" id="{5691C0A4-AE9E-44D7-59CA-CF346A0BB0F2}"/>
              </a:ext>
            </a:extLst>
          </p:cNvPr>
          <p:cNvSpPr txBox="1"/>
          <p:nvPr userDrawn="1"/>
        </p:nvSpPr>
        <p:spPr>
          <a:xfrm>
            <a:off x="516835" y="6334236"/>
            <a:ext cx="3550340" cy="2974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None/>
            </a:pPr>
            <a:r>
              <a:rPr lang="ru-RU" sz="12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ЗоРРО</a:t>
            </a:r>
            <a:r>
              <a:rPr lang="ru-RU" sz="1200" b="1" i="0" u="none" strike="noStrike" cap="none" baseline="30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® </a:t>
            </a:r>
            <a:r>
              <a:rPr lang="de-CH" sz="1200" b="1" i="0" u="none" strike="noStrike" cap="none" baseline="30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2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024</a:t>
            </a:r>
            <a:r>
              <a:rPr lang="en-US" sz="12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| Internal Use Only</a:t>
            </a:r>
            <a:endParaRPr b="0" dirty="0"/>
          </a:p>
        </p:txBody>
      </p:sp>
      <p:pic>
        <p:nvPicPr>
          <p:cNvPr id="3" name="Google Shape;53;p32">
            <a:extLst>
              <a:ext uri="{FF2B5EF4-FFF2-40B4-BE49-F238E27FC236}">
                <a16:creationId xmlns:a16="http://schemas.microsoft.com/office/drawing/2014/main" id="{7D455DFA-FBF5-E060-34CB-151CDF167687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0566400" y="6399249"/>
            <a:ext cx="1205930" cy="16552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4" name="Google Shape;54;p32">
            <a:extLst>
              <a:ext uri="{FF2B5EF4-FFF2-40B4-BE49-F238E27FC236}">
                <a16:creationId xmlns:a16="http://schemas.microsoft.com/office/drawing/2014/main" id="{2AC2BE59-B8F0-706F-52A7-2B1D530BF7AA}"/>
              </a:ext>
            </a:extLst>
          </p:cNvPr>
          <p:cNvCxnSpPr>
            <a:cxnSpLocks/>
          </p:cNvCxnSpPr>
          <p:nvPr userDrawn="1"/>
        </p:nvCxnSpPr>
        <p:spPr>
          <a:xfrm>
            <a:off x="3743325" y="6492239"/>
            <a:ext cx="6630035" cy="0"/>
          </a:xfrm>
          <a:prstGeom prst="straightConnector1">
            <a:avLst/>
          </a:prstGeom>
          <a:solidFill>
            <a:schemeClr val="accent2"/>
          </a:solidFill>
          <a:ln w="19050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DF6D94BE-B142-86B3-4937-91B71BF8592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16835" y="397563"/>
            <a:ext cx="1573333" cy="418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54781"/>
      </p:ext>
    </p:extLst>
  </p:cSld>
  <p:clrMapOvr>
    <a:masterClrMapping/>
  </p:clrMapOvr>
  <p:transition>
    <p:wipe dir="r"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Content + Square photo (dark)" preserve="1">
  <p:cSld name="Title + Content + Square photo (dark)">
    <p:bg>
      <p:bgPr>
        <a:solidFill>
          <a:schemeClr val="lt1"/>
        </a:solidFill>
        <a:effectLst/>
      </p:bgPr>
    </p:bg>
    <p:spTree>
      <p:nvGrpSpPr>
        <p:cNvPr id="1" name="Shape 3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8" name="Google Shape;368;p57"/>
          <p:cNvPicPr preferRelativeResize="0"/>
          <p:nvPr/>
        </p:nvPicPr>
        <p:blipFill rotWithShape="1">
          <a:blip r:embed="rId2">
            <a:alphaModFix/>
          </a:blip>
          <a:srcRect l="50000" r="18360"/>
          <a:stretch/>
        </p:blipFill>
        <p:spPr>
          <a:xfrm rot="-5400000">
            <a:off x="2667002" y="-2667003"/>
            <a:ext cx="6858002" cy="12192003"/>
          </a:xfrm>
          <a:prstGeom prst="rect">
            <a:avLst/>
          </a:prstGeom>
          <a:noFill/>
          <a:ln>
            <a:noFill/>
          </a:ln>
        </p:spPr>
      </p:pic>
      <p:sp>
        <p:nvSpPr>
          <p:cNvPr id="369" name="Google Shape;369;p57"/>
          <p:cNvSpPr/>
          <p:nvPr/>
        </p:nvSpPr>
        <p:spPr>
          <a:xfrm>
            <a:off x="0" y="0"/>
            <a:ext cx="11132288" cy="5869172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endParaRPr sz="10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0" name="Google Shape;370;p57"/>
          <p:cNvSpPr txBox="1">
            <a:spLocks noGrp="1"/>
          </p:cNvSpPr>
          <p:nvPr>
            <p:ph type="sldNum" idx="12"/>
          </p:nvPr>
        </p:nvSpPr>
        <p:spPr>
          <a:xfrm>
            <a:off x="10512506" y="375991"/>
            <a:ext cx="1259824" cy="20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73" name="Google Shape;373;p57"/>
          <p:cNvSpPr txBox="1">
            <a:spLocks noGrp="1"/>
          </p:cNvSpPr>
          <p:nvPr>
            <p:ph type="title"/>
          </p:nvPr>
        </p:nvSpPr>
        <p:spPr>
          <a:xfrm>
            <a:off x="542926" y="1427277"/>
            <a:ext cx="7077074" cy="81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2"/>
                </a:solidFill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4" name="Google Shape;374;p57"/>
          <p:cNvSpPr txBox="1">
            <a:spLocks noGrp="1"/>
          </p:cNvSpPr>
          <p:nvPr>
            <p:ph type="body" idx="1"/>
          </p:nvPr>
        </p:nvSpPr>
        <p:spPr>
          <a:xfrm>
            <a:off x="542925" y="2447173"/>
            <a:ext cx="7077075" cy="27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2"/>
                </a:solidFill>
              </a:defRPr>
            </a:lvl1pPr>
            <a:lvl2pPr marL="914400" lvl="1" indent="-228600" algn="l">
              <a:spcBef>
                <a:spcPts val="350"/>
              </a:spcBef>
              <a:spcAft>
                <a:spcPts val="0"/>
              </a:spcAft>
              <a:buSzPts val="1200"/>
              <a:buNone/>
              <a:defRPr sz="1200">
                <a:solidFill>
                  <a:schemeClr val="dk2"/>
                </a:solidFill>
              </a:defRPr>
            </a:lvl2pPr>
            <a:lvl3pPr marL="1371600" lvl="2" indent="-228600" algn="l">
              <a:spcBef>
                <a:spcPts val="300"/>
              </a:spcBef>
              <a:spcAft>
                <a:spcPts val="0"/>
              </a:spcAft>
              <a:buSzPts val="1000"/>
              <a:buFont typeface="Arial"/>
              <a:buNone/>
              <a:defRPr sz="1000">
                <a:solidFill>
                  <a:schemeClr val="dk2"/>
                </a:solidFill>
              </a:defRPr>
            </a:lvl3pPr>
            <a:lvl4pPr marL="1828800" lvl="3" indent="-228600" algn="l">
              <a:spcBef>
                <a:spcPts val="250"/>
              </a:spcBef>
              <a:spcAft>
                <a:spcPts val="0"/>
              </a:spcAft>
              <a:buSzPts val="1000"/>
              <a:buNone/>
              <a:defRPr sz="1000">
                <a:solidFill>
                  <a:schemeClr val="dk2"/>
                </a:solidFill>
              </a:defRPr>
            </a:lvl4pPr>
            <a:lvl5pPr marL="2286000" lvl="4" indent="-228600" algn="l">
              <a:spcBef>
                <a:spcPts val="250"/>
              </a:spcBef>
              <a:spcAft>
                <a:spcPts val="0"/>
              </a:spcAft>
              <a:buSzPts val="1000"/>
              <a:buFont typeface="Arial"/>
              <a:buNone/>
              <a:defRPr sz="1000">
                <a:solidFill>
                  <a:schemeClr val="dk2"/>
                </a:solidFill>
              </a:defRPr>
            </a:lvl5pPr>
            <a:lvl6pPr marL="2743200" lvl="5" indent="-342900" algn="l">
              <a:spcBef>
                <a:spcPts val="25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5" name="Google Shape;375;p57"/>
          <p:cNvSpPr txBox="1">
            <a:spLocks noGrp="1"/>
          </p:cNvSpPr>
          <p:nvPr>
            <p:ph type="body" idx="2"/>
          </p:nvPr>
        </p:nvSpPr>
        <p:spPr>
          <a:xfrm>
            <a:off x="542926" y="914400"/>
            <a:ext cx="7087042" cy="22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lt2"/>
                </a:solidFill>
              </a:defRPr>
            </a:lvl1pPr>
            <a:lvl2pPr marL="914400" lvl="1" indent="-228600" algn="l">
              <a:spcBef>
                <a:spcPts val="300"/>
              </a:spcBef>
              <a:spcAft>
                <a:spcPts val="0"/>
              </a:spcAft>
              <a:buSzPts val="1200"/>
              <a:buNone/>
              <a:defRPr sz="1200" b="1">
                <a:solidFill>
                  <a:schemeClr val="lt2"/>
                </a:solidFill>
              </a:defRPr>
            </a:lvl2pPr>
            <a:lvl3pPr marL="1371600" lvl="2" indent="-228600" algn="l">
              <a:spcBef>
                <a:spcPts val="300"/>
              </a:spcBef>
              <a:spcAft>
                <a:spcPts val="0"/>
              </a:spcAft>
              <a:buSzPts val="1200"/>
              <a:buFont typeface="Arial"/>
              <a:buNone/>
              <a:defRPr sz="1200" b="1">
                <a:solidFill>
                  <a:schemeClr val="lt2"/>
                </a:solidFill>
              </a:defRPr>
            </a:lvl3pPr>
            <a:lvl4pPr marL="1828800" lvl="3" indent="-228600" algn="l">
              <a:spcBef>
                <a:spcPts val="300"/>
              </a:spcBef>
              <a:spcAft>
                <a:spcPts val="0"/>
              </a:spcAft>
              <a:buSzPts val="1200"/>
              <a:buNone/>
              <a:defRPr sz="1200" b="1">
                <a:solidFill>
                  <a:schemeClr val="lt2"/>
                </a:solidFill>
              </a:defRPr>
            </a:lvl4pPr>
            <a:lvl5pPr marL="2286000" lvl="4" indent="-228600" algn="l">
              <a:spcBef>
                <a:spcPts val="300"/>
              </a:spcBef>
              <a:spcAft>
                <a:spcPts val="0"/>
              </a:spcAft>
              <a:buSzPts val="1200"/>
              <a:buFont typeface="Arial"/>
              <a:buNone/>
              <a:defRPr sz="1200" b="1">
                <a:solidFill>
                  <a:schemeClr val="lt2"/>
                </a:solidFill>
              </a:defRPr>
            </a:lvl5pPr>
            <a:lvl6pPr marL="2743200" lvl="5" indent="-342900" algn="l">
              <a:spcBef>
                <a:spcPts val="3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45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450"/>
              </a:spcBef>
              <a:spcAft>
                <a:spcPts val="45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6" name="Google Shape;376;p57"/>
          <p:cNvSpPr>
            <a:spLocks noGrp="1"/>
          </p:cNvSpPr>
          <p:nvPr>
            <p:ph type="pic" idx="3"/>
          </p:nvPr>
        </p:nvSpPr>
        <p:spPr>
          <a:xfrm>
            <a:off x="7561227" y="1257677"/>
            <a:ext cx="4228724" cy="4228723"/>
          </a:xfrm>
          <a:prstGeom prst="rect">
            <a:avLst/>
          </a:prstGeom>
          <a:noFill/>
          <a:ln>
            <a:noFill/>
          </a:ln>
        </p:spPr>
      </p:sp>
      <p:pic>
        <p:nvPicPr>
          <p:cNvPr id="2" name="Google Shape;112;p38">
            <a:extLst>
              <a:ext uri="{FF2B5EF4-FFF2-40B4-BE49-F238E27FC236}">
                <a16:creationId xmlns:a16="http://schemas.microsoft.com/office/drawing/2014/main" id="{4A658EF3-35E1-2FE2-8CDA-734FEE902056}"/>
              </a:ext>
            </a:extLst>
          </p:cNvPr>
          <p:cNvPicPr preferRelativeResize="0"/>
          <p:nvPr userDrawn="1"/>
        </p:nvPicPr>
        <p:blipFill rotWithShape="1">
          <a:blip r:embed="rId3">
            <a:alphaModFix/>
          </a:blip>
          <a:srcRect/>
          <a:stretch/>
        </p:blipFill>
        <p:spPr>
          <a:xfrm>
            <a:off x="10566400" y="6399249"/>
            <a:ext cx="1205930" cy="16552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3" name="Google Shape;54;p32">
            <a:extLst>
              <a:ext uri="{FF2B5EF4-FFF2-40B4-BE49-F238E27FC236}">
                <a16:creationId xmlns:a16="http://schemas.microsoft.com/office/drawing/2014/main" id="{A1ABA29B-D3E8-9A7F-7439-3824EECAFC66}"/>
              </a:ext>
            </a:extLst>
          </p:cNvPr>
          <p:cNvCxnSpPr>
            <a:cxnSpLocks/>
          </p:cNvCxnSpPr>
          <p:nvPr userDrawn="1"/>
        </p:nvCxnSpPr>
        <p:spPr>
          <a:xfrm>
            <a:off x="3743325" y="6492239"/>
            <a:ext cx="6630035" cy="0"/>
          </a:xfrm>
          <a:prstGeom prst="straightConnector1">
            <a:avLst/>
          </a:prstGeom>
          <a:solidFill>
            <a:schemeClr val="accent2"/>
          </a:solidFill>
          <a:ln w="19050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4" name="Google Shape;40;p32">
            <a:extLst>
              <a:ext uri="{FF2B5EF4-FFF2-40B4-BE49-F238E27FC236}">
                <a16:creationId xmlns:a16="http://schemas.microsoft.com/office/drawing/2014/main" id="{5CAC5531-1C15-AC54-0DB3-839811FF04DF}"/>
              </a:ext>
            </a:extLst>
          </p:cNvPr>
          <p:cNvSpPr txBox="1"/>
          <p:nvPr userDrawn="1"/>
        </p:nvSpPr>
        <p:spPr>
          <a:xfrm>
            <a:off x="516835" y="6334236"/>
            <a:ext cx="3550340" cy="2974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None/>
            </a:pPr>
            <a:r>
              <a:rPr lang="ru-RU" sz="1200" b="1" i="0" u="none" strike="noStrike" cap="none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ЗоРРО</a:t>
            </a:r>
            <a:r>
              <a:rPr lang="ru-RU" sz="1200" b="1" i="0" u="none" strike="noStrike" cap="none" baseline="3000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® </a:t>
            </a:r>
            <a:r>
              <a:rPr lang="de-CH" sz="1200" b="1" i="0" u="none" strike="noStrike" cap="none" baseline="3000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200" b="1" i="0" u="none" strike="noStrike" cap="none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2024</a:t>
            </a:r>
            <a:r>
              <a:rPr lang="en-US" sz="1200" b="0" i="0" u="none" strike="noStrike" cap="none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| Internal Use Only</a:t>
            </a:r>
            <a:endParaRPr b="0" dirty="0">
              <a:solidFill>
                <a:srgbClr val="FFFFFF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EA0B766-864D-BD2B-4891-CE93CAD281B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41773" y="397563"/>
            <a:ext cx="1573333" cy="418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9244974"/>
      </p:ext>
    </p:extLst>
  </p:cSld>
  <p:clrMapOvr>
    <a:masterClrMapping/>
  </p:clrMapOvr>
  <p:transition>
    <p:wipe dir="r"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ED32F2-6EF6-45DE-99E5-91E0A1B948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04801"/>
            <a:ext cx="5791200" cy="649792"/>
          </a:xfrm>
        </p:spPr>
        <p:txBody>
          <a:bodyPr/>
          <a:lstStyle>
            <a:lvl1pPr>
              <a:defRPr sz="2200"/>
            </a:lvl1pPr>
          </a:lstStyle>
          <a:p>
            <a:r>
              <a:rPr lang="en-US"/>
              <a:t>Agenda tit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B43E449-4732-48DD-A363-67B31B66B80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GB"/>
              <a:t>CLASSIFICATION: Internal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5D5E26-6ABA-40BF-BC9F-F16FDC8121D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9C47F3-E74D-462A-9E9A-E7164C68AF73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B7E67EFF-E6EC-417E-9833-1D3163A59F3F}"/>
              </a:ext>
            </a:extLst>
          </p:cNvPr>
          <p:cNvCxnSpPr>
            <a:cxnSpLocks/>
          </p:cNvCxnSpPr>
          <p:nvPr userDrawn="1"/>
        </p:nvCxnSpPr>
        <p:spPr>
          <a:xfrm>
            <a:off x="6553200" y="304800"/>
            <a:ext cx="5334000" cy="0"/>
          </a:xfrm>
          <a:prstGeom prst="line">
            <a:avLst/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4FD3D536-868E-4F30-9C76-3D543D4C62A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53200" y="457200"/>
            <a:ext cx="5334000" cy="5791199"/>
          </a:xfrm>
        </p:spPr>
        <p:txBody>
          <a:bodyPr/>
          <a:lstStyle>
            <a:lvl1pPr>
              <a:spcBef>
                <a:spcPts val="2000"/>
              </a:spcBef>
              <a:defRPr b="1"/>
            </a:lvl1pPr>
            <a:lvl2pPr>
              <a:spcBef>
                <a:spcPts val="200"/>
              </a:spcBef>
              <a:buNone/>
              <a:defRPr/>
            </a:lvl2pPr>
            <a:lvl3pPr marL="228600">
              <a:spcBef>
                <a:spcPts val="200"/>
              </a:spcBef>
              <a:buFont typeface="Arial" panose="020B0604020202020204" pitchFamily="34" charset="0"/>
              <a:buChar char="–"/>
              <a:defRPr/>
            </a:lvl3pPr>
            <a:lvl4pPr marL="457200">
              <a:spcBef>
                <a:spcPts val="200"/>
              </a:spcBef>
              <a:defRPr/>
            </a:lvl4pPr>
            <a:lvl5pPr marL="685800">
              <a:spcBef>
                <a:spcPts val="2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DDDEED7-74B4-49DE-BED6-EA72483D9E8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1134318"/>
            <a:ext cx="5114432" cy="5114081"/>
          </a:xfrm>
          <a:custGeom>
            <a:avLst/>
            <a:gdLst>
              <a:gd name="connsiteX0" fmla="*/ 18 w 5114432"/>
              <a:gd name="connsiteY0" fmla="*/ 1278343 h 5114081"/>
              <a:gd name="connsiteX1" fmla="*/ 130643 w 5114432"/>
              <a:gd name="connsiteY1" fmla="*/ 1284938 h 5114081"/>
              <a:gd name="connsiteX2" fmla="*/ 1277988 w 5114432"/>
              <a:gd name="connsiteY2" fmla="*/ 2555975 h 5114081"/>
              <a:gd name="connsiteX3" fmla="*/ 6599 w 5114432"/>
              <a:gd name="connsiteY3" fmla="*/ 1408654 h 5114081"/>
              <a:gd name="connsiteX4" fmla="*/ 2556329 w 5114432"/>
              <a:gd name="connsiteY4" fmla="*/ 1277987 h 5114081"/>
              <a:gd name="connsiteX5" fmla="*/ 2556347 w 5114432"/>
              <a:gd name="connsiteY5" fmla="*/ 1278343 h 5114081"/>
              <a:gd name="connsiteX6" fmla="*/ 2556329 w 5114432"/>
              <a:gd name="connsiteY6" fmla="*/ 1278341 h 5114081"/>
              <a:gd name="connsiteX7" fmla="*/ 0 w 5114432"/>
              <a:gd name="connsiteY7" fmla="*/ 1277987 h 5114081"/>
              <a:gd name="connsiteX8" fmla="*/ 18 w 5114432"/>
              <a:gd name="connsiteY8" fmla="*/ 1278343 h 5114081"/>
              <a:gd name="connsiteX9" fmla="*/ 0 w 5114432"/>
              <a:gd name="connsiteY9" fmla="*/ 1278341 h 5114081"/>
              <a:gd name="connsiteX10" fmla="*/ 3834317 w 5114432"/>
              <a:gd name="connsiteY10" fmla="*/ 0 h 5114081"/>
              <a:gd name="connsiteX11" fmla="*/ 3834317 w 5114432"/>
              <a:gd name="connsiteY11" fmla="*/ 2135 h 5114081"/>
              <a:gd name="connsiteX12" fmla="*/ 2686996 w 5114432"/>
              <a:gd name="connsiteY12" fmla="*/ 1273521 h 5114081"/>
              <a:gd name="connsiteX13" fmla="*/ 2573932 w 5114432"/>
              <a:gd name="connsiteY13" fmla="*/ 1279230 h 5114081"/>
              <a:gd name="connsiteX14" fmla="*/ 2686970 w 5114432"/>
              <a:gd name="connsiteY14" fmla="*/ 1284938 h 5114081"/>
              <a:gd name="connsiteX15" fmla="*/ 3827684 w 5114432"/>
              <a:gd name="connsiteY15" fmla="*/ 2425335 h 5114081"/>
              <a:gd name="connsiteX16" fmla="*/ 3833393 w 5114432"/>
              <a:gd name="connsiteY16" fmla="*/ 2537780 h 5114081"/>
              <a:gd name="connsiteX17" fmla="*/ 3839353 w 5114432"/>
              <a:gd name="connsiteY17" fmla="*/ 2423539 h 5114081"/>
              <a:gd name="connsiteX18" fmla="*/ 5112656 w 5114432"/>
              <a:gd name="connsiteY18" fmla="*/ 1278342 h 5114081"/>
              <a:gd name="connsiteX19" fmla="*/ 3963271 w 5114432"/>
              <a:gd name="connsiteY19" fmla="*/ 2549735 h 5114081"/>
              <a:gd name="connsiteX20" fmla="*/ 3836934 w 5114432"/>
              <a:gd name="connsiteY20" fmla="*/ 2556107 h 5114081"/>
              <a:gd name="connsiteX21" fmla="*/ 3965197 w 5114432"/>
              <a:gd name="connsiteY21" fmla="*/ 2562584 h 5114081"/>
              <a:gd name="connsiteX22" fmla="*/ 5114432 w 5114432"/>
              <a:gd name="connsiteY22" fmla="*/ 3836094 h 5114081"/>
              <a:gd name="connsiteX23" fmla="*/ 3834313 w 5114432"/>
              <a:gd name="connsiteY23" fmla="*/ 2560246 h 5114081"/>
              <a:gd name="connsiteX24" fmla="*/ 3834313 w 5114432"/>
              <a:gd name="connsiteY24" fmla="*/ 2558194 h 5114081"/>
              <a:gd name="connsiteX25" fmla="*/ 3828511 w 5114432"/>
              <a:gd name="connsiteY25" fmla="*/ 2680715 h 5114081"/>
              <a:gd name="connsiteX26" fmla="*/ 2686996 w 5114432"/>
              <a:gd name="connsiteY26" fmla="*/ 3829496 h 5114081"/>
              <a:gd name="connsiteX27" fmla="*/ 2556339 w 5114432"/>
              <a:gd name="connsiteY27" fmla="*/ 3836094 h 5114081"/>
              <a:gd name="connsiteX28" fmla="*/ 2686996 w 5114432"/>
              <a:gd name="connsiteY28" fmla="*/ 3842691 h 5114081"/>
              <a:gd name="connsiteX29" fmla="*/ 3834317 w 5114432"/>
              <a:gd name="connsiteY29" fmla="*/ 5114081 h 5114081"/>
              <a:gd name="connsiteX30" fmla="*/ 2562926 w 5114432"/>
              <a:gd name="connsiteY30" fmla="*/ 3966760 h 5114081"/>
              <a:gd name="connsiteX31" fmla="*/ 2556329 w 5114432"/>
              <a:gd name="connsiteY31" fmla="*/ 3836094 h 5114081"/>
              <a:gd name="connsiteX32" fmla="*/ 2549528 w 5114432"/>
              <a:gd name="connsiteY32" fmla="*/ 3966688 h 5114081"/>
              <a:gd name="connsiteX33" fmla="*/ 1277988 w 5114432"/>
              <a:gd name="connsiteY33" fmla="*/ 5114078 h 5114081"/>
              <a:gd name="connsiteX34" fmla="*/ 1277988 w 5114432"/>
              <a:gd name="connsiteY34" fmla="*/ 5113720 h 5114081"/>
              <a:gd name="connsiteX35" fmla="*/ 2425660 w 5114432"/>
              <a:gd name="connsiteY35" fmla="*/ 3842653 h 5114081"/>
              <a:gd name="connsiteX36" fmla="*/ 2556290 w 5114432"/>
              <a:gd name="connsiteY36" fmla="*/ 3836092 h 5114081"/>
              <a:gd name="connsiteX37" fmla="*/ 2425660 w 5114432"/>
              <a:gd name="connsiteY37" fmla="*/ 3829533 h 5114081"/>
              <a:gd name="connsiteX38" fmla="*/ 1277988 w 5114432"/>
              <a:gd name="connsiteY38" fmla="*/ 2558465 h 5114081"/>
              <a:gd name="connsiteX39" fmla="*/ 1277988 w 5114432"/>
              <a:gd name="connsiteY39" fmla="*/ 2558110 h 5114081"/>
              <a:gd name="connsiteX40" fmla="*/ 130667 w 5114432"/>
              <a:gd name="connsiteY40" fmla="*/ 3829496 h 5114081"/>
              <a:gd name="connsiteX41" fmla="*/ 10 w 5114432"/>
              <a:gd name="connsiteY41" fmla="*/ 3836094 h 5114081"/>
              <a:gd name="connsiteX42" fmla="*/ 130667 w 5114432"/>
              <a:gd name="connsiteY42" fmla="*/ 3842691 h 5114081"/>
              <a:gd name="connsiteX43" fmla="*/ 1277988 w 5114432"/>
              <a:gd name="connsiteY43" fmla="*/ 5114081 h 5114081"/>
              <a:gd name="connsiteX44" fmla="*/ 6599 w 5114432"/>
              <a:gd name="connsiteY44" fmla="*/ 3966760 h 5114081"/>
              <a:gd name="connsiteX45" fmla="*/ 0 w 5114432"/>
              <a:gd name="connsiteY45" fmla="*/ 3836094 h 5114081"/>
              <a:gd name="connsiteX46" fmla="*/ 0 w 5114432"/>
              <a:gd name="connsiteY46" fmla="*/ 3836093 h 5114081"/>
              <a:gd name="connsiteX47" fmla="*/ 6595 w 5114432"/>
              <a:gd name="connsiteY47" fmla="*/ 3705360 h 5114081"/>
              <a:gd name="connsiteX48" fmla="*/ 1277988 w 5114432"/>
              <a:gd name="connsiteY48" fmla="*/ 2555975 h 5114081"/>
              <a:gd name="connsiteX49" fmla="*/ 2549732 w 5114432"/>
              <a:gd name="connsiteY49" fmla="*/ 3705334 h 5114081"/>
              <a:gd name="connsiteX50" fmla="*/ 2556329 w 5114432"/>
              <a:gd name="connsiteY50" fmla="*/ 3836090 h 5114081"/>
              <a:gd name="connsiteX51" fmla="*/ 2556329 w 5114432"/>
              <a:gd name="connsiteY51" fmla="*/ 3836092 h 5114081"/>
              <a:gd name="connsiteX52" fmla="*/ 2556329 w 5114432"/>
              <a:gd name="connsiteY52" fmla="*/ 3836093 h 5114081"/>
              <a:gd name="connsiteX53" fmla="*/ 2562922 w 5114432"/>
              <a:gd name="connsiteY53" fmla="*/ 3705360 h 5114081"/>
              <a:gd name="connsiteX54" fmla="*/ 3703593 w 5114432"/>
              <a:gd name="connsiteY54" fmla="*/ 2562787 h 5114081"/>
              <a:gd name="connsiteX55" fmla="*/ 3832537 w 5114432"/>
              <a:gd name="connsiteY55" fmla="*/ 2556068 h 5114081"/>
              <a:gd name="connsiteX56" fmla="*/ 3832537 w 5114432"/>
              <a:gd name="connsiteY56" fmla="*/ 2555885 h 5114081"/>
              <a:gd name="connsiteX57" fmla="*/ 3703650 w 5114432"/>
              <a:gd name="connsiteY57" fmla="*/ 2549377 h 5114081"/>
              <a:gd name="connsiteX58" fmla="*/ 2562926 w 5114432"/>
              <a:gd name="connsiteY58" fmla="*/ 1408654 h 5114081"/>
              <a:gd name="connsiteX59" fmla="*/ 2556436 w 5114432"/>
              <a:gd name="connsiteY59" fmla="*/ 1280115 h 5114081"/>
              <a:gd name="connsiteX60" fmla="*/ 2556329 w 5114432"/>
              <a:gd name="connsiteY60" fmla="*/ 1280119 h 5114081"/>
              <a:gd name="connsiteX61" fmla="*/ 2556382 w 5114432"/>
              <a:gd name="connsiteY61" fmla="*/ 1279055 h 5114081"/>
              <a:gd name="connsiteX62" fmla="*/ 2556347 w 5114432"/>
              <a:gd name="connsiteY62" fmla="*/ 1278343 h 5114081"/>
              <a:gd name="connsiteX63" fmla="*/ 2556418 w 5114432"/>
              <a:gd name="connsiteY63" fmla="*/ 1278346 h 5114081"/>
              <a:gd name="connsiteX64" fmla="*/ 2562924 w 5114432"/>
              <a:gd name="connsiteY64" fmla="*/ 1149385 h 5114081"/>
              <a:gd name="connsiteX65" fmla="*/ 3834317 w 5114432"/>
              <a:gd name="connsiteY65" fmla="*/ 0 h 5114081"/>
              <a:gd name="connsiteX66" fmla="*/ 1277988 w 5114432"/>
              <a:gd name="connsiteY66" fmla="*/ 0 h 5114081"/>
              <a:gd name="connsiteX67" fmla="*/ 2556329 w 5114432"/>
              <a:gd name="connsiteY67" fmla="*/ 1280119 h 5114081"/>
              <a:gd name="connsiteX68" fmla="*/ 1277988 w 5114432"/>
              <a:gd name="connsiteY68" fmla="*/ 2491 h 5114081"/>
              <a:gd name="connsiteX69" fmla="*/ 1277988 w 5114432"/>
              <a:gd name="connsiteY69" fmla="*/ 0 h 5114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</a:cxnLst>
            <a:rect l="l" t="t" r="r" b="b"/>
            <a:pathLst>
              <a:path w="5114432" h="5114081">
                <a:moveTo>
                  <a:pt x="18" y="1278343"/>
                </a:moveTo>
                <a:lnTo>
                  <a:pt x="130643" y="1284938"/>
                </a:lnTo>
                <a:cubicBezTo>
                  <a:pt x="774956" y="1350359"/>
                  <a:pt x="1277803" y="1894405"/>
                  <a:pt x="1277988" y="2555975"/>
                </a:cubicBezTo>
                <a:cubicBezTo>
                  <a:pt x="616287" y="2555975"/>
                  <a:pt x="72045" y="2053087"/>
                  <a:pt x="6599" y="1408654"/>
                </a:cubicBezTo>
                <a:close/>
                <a:moveTo>
                  <a:pt x="2556329" y="1277987"/>
                </a:moveTo>
                <a:lnTo>
                  <a:pt x="2556347" y="1278343"/>
                </a:lnTo>
                <a:lnTo>
                  <a:pt x="2556329" y="1278341"/>
                </a:lnTo>
                <a:close/>
                <a:moveTo>
                  <a:pt x="0" y="1277987"/>
                </a:moveTo>
                <a:lnTo>
                  <a:pt x="18" y="1278343"/>
                </a:lnTo>
                <a:lnTo>
                  <a:pt x="0" y="1278341"/>
                </a:lnTo>
                <a:close/>
                <a:moveTo>
                  <a:pt x="3834317" y="0"/>
                </a:moveTo>
                <a:cubicBezTo>
                  <a:pt x="3834317" y="714"/>
                  <a:pt x="3834317" y="1423"/>
                  <a:pt x="3834317" y="2135"/>
                </a:cubicBezTo>
                <a:cubicBezTo>
                  <a:pt x="3834317" y="663835"/>
                  <a:pt x="3331429" y="1208076"/>
                  <a:pt x="2686996" y="1273521"/>
                </a:cubicBezTo>
                <a:lnTo>
                  <a:pt x="2573932" y="1279230"/>
                </a:lnTo>
                <a:lnTo>
                  <a:pt x="2686970" y="1284938"/>
                </a:lnTo>
                <a:cubicBezTo>
                  <a:pt x="3288330" y="1345998"/>
                  <a:pt x="3766457" y="1823992"/>
                  <a:pt x="3827684" y="2425335"/>
                </a:cubicBezTo>
                <a:lnTo>
                  <a:pt x="3833393" y="2537780"/>
                </a:lnTo>
                <a:lnTo>
                  <a:pt x="3839353" y="2423539"/>
                </a:lnTo>
                <a:cubicBezTo>
                  <a:pt x="3905877" y="1779218"/>
                  <a:pt x="4450956" y="1277240"/>
                  <a:pt x="5112656" y="1278342"/>
                </a:cubicBezTo>
                <a:cubicBezTo>
                  <a:pt x="5111552" y="1940368"/>
                  <a:pt x="4608059" y="2484326"/>
                  <a:pt x="3963271" y="2549735"/>
                </a:cubicBezTo>
                <a:lnTo>
                  <a:pt x="3836934" y="2556107"/>
                </a:lnTo>
                <a:lnTo>
                  <a:pt x="3965197" y="2562584"/>
                </a:lnTo>
                <a:cubicBezTo>
                  <a:pt x="4610707" y="2628139"/>
                  <a:pt x="5114432" y="3173289"/>
                  <a:pt x="5114432" y="3836094"/>
                </a:cubicBezTo>
                <a:cubicBezTo>
                  <a:pt x="4408623" y="3837274"/>
                  <a:pt x="3835493" y="3266055"/>
                  <a:pt x="3834313" y="2560246"/>
                </a:cubicBezTo>
                <a:lnTo>
                  <a:pt x="3834313" y="2558194"/>
                </a:lnTo>
                <a:lnTo>
                  <a:pt x="3828511" y="2680715"/>
                </a:lnTo>
                <a:cubicBezTo>
                  <a:pt x="3770904" y="3285970"/>
                  <a:pt x="3291152" y="3768142"/>
                  <a:pt x="2686996" y="3829496"/>
                </a:cubicBezTo>
                <a:lnTo>
                  <a:pt x="2556339" y="3836094"/>
                </a:lnTo>
                <a:lnTo>
                  <a:pt x="2686996" y="3842691"/>
                </a:lnTo>
                <a:cubicBezTo>
                  <a:pt x="3331429" y="3908137"/>
                  <a:pt x="3834317" y="4452382"/>
                  <a:pt x="3834317" y="5114081"/>
                </a:cubicBezTo>
                <a:cubicBezTo>
                  <a:pt x="3172618" y="5114081"/>
                  <a:pt x="2628372" y="4611193"/>
                  <a:pt x="2562926" y="3966760"/>
                </a:cubicBezTo>
                <a:lnTo>
                  <a:pt x="2556329" y="3836094"/>
                </a:lnTo>
                <a:lnTo>
                  <a:pt x="2549528" y="3966688"/>
                </a:lnTo>
                <a:cubicBezTo>
                  <a:pt x="2483169" y="4610767"/>
                  <a:pt x="1939363" y="5113158"/>
                  <a:pt x="1277988" y="5114078"/>
                </a:cubicBezTo>
                <a:cubicBezTo>
                  <a:pt x="1277988" y="5113959"/>
                  <a:pt x="1277988" y="5113840"/>
                  <a:pt x="1277988" y="5113720"/>
                </a:cubicBezTo>
                <a:cubicBezTo>
                  <a:pt x="1278174" y="4452020"/>
                  <a:pt x="1781212" y="3907920"/>
                  <a:pt x="2425660" y="3842653"/>
                </a:cubicBezTo>
                <a:lnTo>
                  <a:pt x="2556290" y="3836092"/>
                </a:lnTo>
                <a:lnTo>
                  <a:pt x="2425660" y="3829533"/>
                </a:lnTo>
                <a:cubicBezTo>
                  <a:pt x="1781212" y="3764268"/>
                  <a:pt x="1278174" y="3220165"/>
                  <a:pt x="1277988" y="2558465"/>
                </a:cubicBezTo>
                <a:lnTo>
                  <a:pt x="1277988" y="2558110"/>
                </a:lnTo>
                <a:cubicBezTo>
                  <a:pt x="1277988" y="3219810"/>
                  <a:pt x="775100" y="3764051"/>
                  <a:pt x="130667" y="3829496"/>
                </a:cubicBezTo>
                <a:lnTo>
                  <a:pt x="10" y="3836094"/>
                </a:lnTo>
                <a:lnTo>
                  <a:pt x="130667" y="3842691"/>
                </a:lnTo>
                <a:cubicBezTo>
                  <a:pt x="775100" y="3908137"/>
                  <a:pt x="1277988" y="4452382"/>
                  <a:pt x="1277988" y="5114081"/>
                </a:cubicBezTo>
                <a:cubicBezTo>
                  <a:pt x="616287" y="5114081"/>
                  <a:pt x="72045" y="4611193"/>
                  <a:pt x="6599" y="3966760"/>
                </a:cubicBezTo>
                <a:lnTo>
                  <a:pt x="0" y="3836094"/>
                </a:lnTo>
                <a:lnTo>
                  <a:pt x="0" y="3836093"/>
                </a:lnTo>
                <a:lnTo>
                  <a:pt x="6595" y="3705360"/>
                </a:lnTo>
                <a:cubicBezTo>
                  <a:pt x="72003" y="3060573"/>
                  <a:pt x="615962" y="2557077"/>
                  <a:pt x="1277988" y="2555975"/>
                </a:cubicBezTo>
                <a:cubicBezTo>
                  <a:pt x="1940141" y="2556896"/>
                  <a:pt x="2484300" y="3060425"/>
                  <a:pt x="2549732" y="3705334"/>
                </a:cubicBezTo>
                <a:lnTo>
                  <a:pt x="2556329" y="3836090"/>
                </a:lnTo>
                <a:lnTo>
                  <a:pt x="2556329" y="3836092"/>
                </a:lnTo>
                <a:lnTo>
                  <a:pt x="2556329" y="3836093"/>
                </a:lnTo>
                <a:lnTo>
                  <a:pt x="2562922" y="3705360"/>
                </a:lnTo>
                <a:cubicBezTo>
                  <a:pt x="2623972" y="3103559"/>
                  <a:pt x="3101891" y="2624838"/>
                  <a:pt x="3703593" y="2562787"/>
                </a:cubicBezTo>
                <a:lnTo>
                  <a:pt x="3832537" y="2556068"/>
                </a:lnTo>
                <a:lnTo>
                  <a:pt x="3832537" y="2555885"/>
                </a:lnTo>
                <a:lnTo>
                  <a:pt x="3703650" y="2549377"/>
                </a:lnTo>
                <a:cubicBezTo>
                  <a:pt x="3102181" y="2488294"/>
                  <a:pt x="2624011" y="2010125"/>
                  <a:pt x="2562926" y="1408654"/>
                </a:cubicBezTo>
                <a:lnTo>
                  <a:pt x="2556436" y="1280115"/>
                </a:lnTo>
                <a:lnTo>
                  <a:pt x="2556329" y="1280119"/>
                </a:lnTo>
                <a:lnTo>
                  <a:pt x="2556382" y="1279055"/>
                </a:lnTo>
                <a:lnTo>
                  <a:pt x="2556347" y="1278343"/>
                </a:lnTo>
                <a:lnTo>
                  <a:pt x="2556418" y="1278346"/>
                </a:lnTo>
                <a:lnTo>
                  <a:pt x="2562924" y="1149385"/>
                </a:lnTo>
                <a:cubicBezTo>
                  <a:pt x="2628333" y="504598"/>
                  <a:pt x="3172293" y="1102"/>
                  <a:pt x="3834317" y="0"/>
                </a:cubicBezTo>
                <a:close/>
                <a:moveTo>
                  <a:pt x="1277988" y="0"/>
                </a:moveTo>
                <a:cubicBezTo>
                  <a:pt x="1984285" y="982"/>
                  <a:pt x="2556329" y="573821"/>
                  <a:pt x="2556329" y="1280119"/>
                </a:cubicBezTo>
                <a:cubicBezTo>
                  <a:pt x="1850518" y="1280318"/>
                  <a:pt x="1278185" y="708303"/>
                  <a:pt x="1277988" y="2491"/>
                </a:cubicBezTo>
                <a:cubicBezTo>
                  <a:pt x="1277988" y="1662"/>
                  <a:pt x="1277988" y="833"/>
                  <a:pt x="1277988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940713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108357-E902-46FC-A995-CBB8C57520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200"/>
            </a:lvl1pPr>
          </a:lstStyle>
          <a:p>
            <a:r>
              <a:rPr lang="en-US"/>
              <a:t>Tit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FAA29ED-B081-445A-951A-0F0F2A5FFE0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GB"/>
              <a:t>CLASSIFICATION: Internal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8331B6-DEC4-4CB5-B89B-673584AD34C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9C47F3-E74D-462A-9E9A-E7164C68AF7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2D1304B-6F7E-4EC7-BF42-5A81617C3CE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1240916"/>
            <a:ext cx="11582400" cy="400110"/>
          </a:xfrm>
        </p:spPr>
        <p:txBody>
          <a:bodyPr/>
          <a:lstStyle>
            <a:lvl1pPr>
              <a:defRPr b="1">
                <a:solidFill>
                  <a:srgbClr val="488021"/>
                </a:solidFill>
              </a:defRPr>
            </a:lvl1pPr>
            <a:lvl2pPr>
              <a:defRPr b="1">
                <a:solidFill>
                  <a:srgbClr val="245C73"/>
                </a:solidFill>
              </a:defRPr>
            </a:lvl2pPr>
            <a:lvl3pPr>
              <a:defRPr b="1">
                <a:solidFill>
                  <a:srgbClr val="245C73"/>
                </a:solidFill>
              </a:defRPr>
            </a:lvl3pPr>
            <a:lvl4pPr>
              <a:defRPr b="1">
                <a:solidFill>
                  <a:srgbClr val="245C73"/>
                </a:solidFill>
              </a:defRPr>
            </a:lvl4pPr>
            <a:lvl5pPr>
              <a:defRPr b="1">
                <a:solidFill>
                  <a:srgbClr val="245C73"/>
                </a:solidFill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7CD833C-3221-4EFA-882C-80EB25F946A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1" y="1641026"/>
            <a:ext cx="11582400" cy="369271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3716E53-3047-45CF-A345-048E4064E72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04800" y="5423153"/>
            <a:ext cx="11582400" cy="475488"/>
          </a:xfrm>
          <a:solidFill>
            <a:schemeClr val="accent6"/>
          </a:solidFill>
        </p:spPr>
        <p:txBody>
          <a:bodyPr anchor="ctr"/>
          <a:lstStyle>
            <a:lvl1pPr algn="ctr">
              <a:spcBef>
                <a:spcPts val="0"/>
              </a:spcBef>
              <a:defRPr sz="1600" b="1"/>
            </a:lvl1pPr>
          </a:lstStyle>
          <a:p>
            <a:pPr lvl="0"/>
            <a:r>
              <a:rPr lang="en-US"/>
              <a:t>Takeaway message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25EE22E-5494-4925-AD13-8ABBF9754DB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4800" y="5988049"/>
            <a:ext cx="11582400" cy="260350"/>
          </a:xfrm>
        </p:spPr>
        <p:txBody>
          <a:bodyPr anchor="b"/>
          <a:lstStyle>
            <a:lvl1pPr>
              <a:spcBef>
                <a:spcPts val="0"/>
              </a:spcBef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Source: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9162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. Text_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108357-E902-46FC-A995-CBB8C57520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Tit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FAA29ED-B081-445A-951A-0F0F2A5FFE0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GB"/>
              <a:t>CLASSIFICATION: Internal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8331B6-DEC4-4CB5-B89B-673584AD34C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9C47F3-E74D-462A-9E9A-E7164C68AF7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2D1304B-6F7E-4EC7-BF42-5A81617C3CE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1240916"/>
            <a:ext cx="5340096" cy="400110"/>
          </a:xfrm>
        </p:spPr>
        <p:txBody>
          <a:bodyPr/>
          <a:lstStyle>
            <a:lvl1pPr>
              <a:defRPr b="1">
                <a:solidFill>
                  <a:srgbClr val="488021"/>
                </a:solidFill>
              </a:defRPr>
            </a:lvl1pPr>
            <a:lvl2pPr>
              <a:defRPr b="1">
                <a:solidFill>
                  <a:srgbClr val="245C73"/>
                </a:solidFill>
              </a:defRPr>
            </a:lvl2pPr>
            <a:lvl3pPr>
              <a:defRPr b="1">
                <a:solidFill>
                  <a:srgbClr val="245C73"/>
                </a:solidFill>
              </a:defRPr>
            </a:lvl3pPr>
            <a:lvl4pPr>
              <a:defRPr b="1">
                <a:solidFill>
                  <a:srgbClr val="245C73"/>
                </a:solidFill>
              </a:defRPr>
            </a:lvl4pPr>
            <a:lvl5pPr>
              <a:defRPr b="1">
                <a:solidFill>
                  <a:srgbClr val="245C73"/>
                </a:solidFill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7CD833C-3221-4EFA-882C-80EB25F946A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1" y="1641026"/>
            <a:ext cx="5340096" cy="3694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25C17EBA-CEDD-41DA-8E8F-12F1A62933B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47102" y="1240916"/>
            <a:ext cx="5340096" cy="400110"/>
          </a:xfrm>
        </p:spPr>
        <p:txBody>
          <a:bodyPr/>
          <a:lstStyle>
            <a:lvl1pPr>
              <a:defRPr b="1">
                <a:solidFill>
                  <a:srgbClr val="488021"/>
                </a:solidFill>
              </a:defRPr>
            </a:lvl1pPr>
            <a:lvl2pPr>
              <a:defRPr b="1">
                <a:solidFill>
                  <a:srgbClr val="245C73"/>
                </a:solidFill>
              </a:defRPr>
            </a:lvl2pPr>
            <a:lvl3pPr>
              <a:defRPr b="1">
                <a:solidFill>
                  <a:srgbClr val="245C73"/>
                </a:solidFill>
              </a:defRPr>
            </a:lvl3pPr>
            <a:lvl4pPr>
              <a:defRPr b="1">
                <a:solidFill>
                  <a:srgbClr val="245C73"/>
                </a:solidFill>
              </a:defRPr>
            </a:lvl4pPr>
            <a:lvl5pPr>
              <a:defRPr b="1">
                <a:solidFill>
                  <a:srgbClr val="245C73"/>
                </a:solidFill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61984772-C4E2-4CC4-97BE-A8C75F86FBD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47102" y="1641026"/>
            <a:ext cx="5340096" cy="3694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EEB88B32-F02A-47E3-9F67-154A6E324FB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4800" y="5423153"/>
            <a:ext cx="11582400" cy="475488"/>
          </a:xfrm>
          <a:solidFill>
            <a:schemeClr val="accent6"/>
          </a:solidFill>
        </p:spPr>
        <p:txBody>
          <a:bodyPr anchor="ctr"/>
          <a:lstStyle>
            <a:lvl1pPr algn="ctr">
              <a:spcBef>
                <a:spcPts val="0"/>
              </a:spcBef>
              <a:defRPr sz="1600" b="1"/>
            </a:lvl1pPr>
          </a:lstStyle>
          <a:p>
            <a:pPr lvl="0"/>
            <a:r>
              <a:rPr lang="en-US"/>
              <a:t>Takeaway message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1F0BF66B-B018-463B-ACF8-5EEA0436B5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04800" y="5988049"/>
            <a:ext cx="11582400" cy="260350"/>
          </a:xfrm>
        </p:spPr>
        <p:txBody>
          <a:bodyPr anchor="b"/>
          <a:lstStyle>
            <a:lvl1pPr>
              <a:spcBef>
                <a:spcPts val="0"/>
              </a:spcBef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Source: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99127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slideLayout" Target="../slideLayouts/slideLayout49.xml"/><Relationship Id="rId39" Type="http://schemas.openxmlformats.org/officeDocument/2006/relationships/slideLayout" Target="../slideLayouts/slideLayout62.xml"/><Relationship Id="rId3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44.xml"/><Relationship Id="rId34" Type="http://schemas.openxmlformats.org/officeDocument/2006/relationships/slideLayout" Target="../slideLayouts/slideLayout57.xml"/><Relationship Id="rId42" Type="http://schemas.openxmlformats.org/officeDocument/2006/relationships/slideLayout" Target="../slideLayouts/slideLayout65.xml"/><Relationship Id="rId47" Type="http://schemas.openxmlformats.org/officeDocument/2006/relationships/image" Target="../media/image1.emf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slideLayout" Target="../slideLayouts/slideLayout48.xml"/><Relationship Id="rId33" Type="http://schemas.openxmlformats.org/officeDocument/2006/relationships/slideLayout" Target="../slideLayouts/slideLayout56.xml"/><Relationship Id="rId38" Type="http://schemas.openxmlformats.org/officeDocument/2006/relationships/slideLayout" Target="../slideLayouts/slideLayout61.xml"/><Relationship Id="rId46" Type="http://schemas.openxmlformats.org/officeDocument/2006/relationships/oleObject" Target="../embeddings/oleObject2.bin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29" Type="http://schemas.openxmlformats.org/officeDocument/2006/relationships/slideLayout" Target="../slideLayouts/slideLayout52.xml"/><Relationship Id="rId41" Type="http://schemas.openxmlformats.org/officeDocument/2006/relationships/slideLayout" Target="../slideLayouts/slideLayout64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slideLayout" Target="../slideLayouts/slideLayout47.xml"/><Relationship Id="rId32" Type="http://schemas.openxmlformats.org/officeDocument/2006/relationships/slideLayout" Target="../slideLayouts/slideLayout55.xml"/><Relationship Id="rId37" Type="http://schemas.openxmlformats.org/officeDocument/2006/relationships/slideLayout" Target="../slideLayouts/slideLayout60.xml"/><Relationship Id="rId40" Type="http://schemas.openxmlformats.org/officeDocument/2006/relationships/slideLayout" Target="../slideLayouts/slideLayout63.xml"/><Relationship Id="rId45" Type="http://schemas.openxmlformats.org/officeDocument/2006/relationships/tags" Target="../tags/tag3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slideLayout" Target="../slideLayouts/slideLayout46.xml"/><Relationship Id="rId28" Type="http://schemas.openxmlformats.org/officeDocument/2006/relationships/slideLayout" Target="../slideLayouts/slideLayout51.xml"/><Relationship Id="rId36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31" Type="http://schemas.openxmlformats.org/officeDocument/2006/relationships/slideLayout" Target="../slideLayouts/slideLayout54.xml"/><Relationship Id="rId44" Type="http://schemas.openxmlformats.org/officeDocument/2006/relationships/theme" Target="../theme/theme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Relationship Id="rId27" Type="http://schemas.openxmlformats.org/officeDocument/2006/relationships/slideLayout" Target="../slideLayouts/slideLayout50.xml"/><Relationship Id="rId30" Type="http://schemas.openxmlformats.org/officeDocument/2006/relationships/slideLayout" Target="../slideLayouts/slideLayout53.xml"/><Relationship Id="rId35" Type="http://schemas.openxmlformats.org/officeDocument/2006/relationships/slideLayout" Target="../slideLayouts/slideLayout58.xml"/><Relationship Id="rId43" Type="http://schemas.openxmlformats.org/officeDocument/2006/relationships/slideLayout" Target="../slideLayouts/slideLayout6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6CB6B86-5777-4B04-BBA4-CE6183C817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217910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10" imgH="409" progId="TCLayout.ActiveDocument.1">
                  <p:embed/>
                </p:oleObj>
              </mc:Choice>
              <mc:Fallback>
                <p:oleObj name="think-cell Slide" r:id="rId26" imgW="410" imgH="40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6CB6B86-5777-4B04-BBA4-CE6183C817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97C8AB3-0412-48FE-8F5F-EB0283A44D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304801"/>
            <a:ext cx="11582400" cy="64979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AB9AF00-2263-4ACC-8594-B730E83FF0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4799" y="1825624"/>
            <a:ext cx="11582399" cy="44227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78F6480-16D0-4651-87CF-DFC2449C70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054083" y="6427215"/>
            <a:ext cx="4114800" cy="24361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r>
              <a:rPr lang="en-GB"/>
              <a:t>CLASSIFICATION: Internal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E1588C-E45D-4083-94DD-1CE5E26806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3078" y="6427215"/>
            <a:ext cx="624120" cy="24361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219C47F3-E74D-462A-9E9A-E7164C68AF7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1ED089D-B2B9-4289-8A18-0CE591C46BC6}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154939" y="6248400"/>
            <a:ext cx="1405418" cy="6096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861ACB55-586D-4CE5-82D9-B4B18D5086CF}"/>
              </a:ext>
            </a:extLst>
          </p:cNvPr>
          <p:cNvGrpSpPr/>
          <p:nvPr userDrawn="1"/>
        </p:nvGrpSpPr>
        <p:grpSpPr>
          <a:xfrm>
            <a:off x="1581289" y="6427215"/>
            <a:ext cx="10305911" cy="0"/>
            <a:chOff x="1897380" y="6360159"/>
            <a:chExt cx="9944354" cy="0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7FB33A0C-60E8-4775-B9AA-2ED2539AA5D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897380" y="6360159"/>
              <a:ext cx="2484120" cy="0"/>
            </a:xfrm>
            <a:prstGeom prst="line">
              <a:avLst/>
            </a:prstGeom>
            <a:ln w="19050">
              <a:solidFill>
                <a:srgbClr val="50E600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43707896-80AF-476B-99E8-DD145F75DC5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80230" y="6360159"/>
              <a:ext cx="2487168" cy="0"/>
            </a:xfrm>
            <a:prstGeom prst="line">
              <a:avLst/>
            </a:prstGeom>
            <a:ln w="19050">
              <a:solidFill>
                <a:srgbClr val="FF0064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AA11D4A6-1A36-4F7F-A571-B3B989CB458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867398" y="6360159"/>
              <a:ext cx="2487168" cy="0"/>
            </a:xfrm>
            <a:prstGeom prst="line">
              <a:avLst/>
            </a:prstGeom>
            <a:ln w="19050">
              <a:solidFill>
                <a:srgbClr val="FFAA00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E3A24F88-BAE4-4003-AC1A-38CEA81BC58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354566" y="6360159"/>
              <a:ext cx="2487168" cy="0"/>
            </a:xfrm>
            <a:prstGeom prst="line">
              <a:avLst/>
            </a:prstGeom>
            <a:ln w="19050">
              <a:solidFill>
                <a:srgbClr val="00E6BE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359831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79" r:id="rId2"/>
    <p:sldLayoutId id="2147483680" r:id="rId3"/>
    <p:sldLayoutId id="2147483681" r:id="rId4"/>
    <p:sldLayoutId id="2147483651" r:id="rId5"/>
    <p:sldLayoutId id="2147483652" r:id="rId6"/>
    <p:sldLayoutId id="2147483653" r:id="rId7"/>
    <p:sldLayoutId id="2147483655" r:id="rId8"/>
    <p:sldLayoutId id="2147483660" r:id="rId9"/>
    <p:sldLayoutId id="2147483661" r:id="rId10"/>
    <p:sldLayoutId id="2147483663" r:id="rId11"/>
    <p:sldLayoutId id="2147483664" r:id="rId12"/>
    <p:sldLayoutId id="2147483669" r:id="rId13"/>
    <p:sldLayoutId id="2147483665" r:id="rId14"/>
    <p:sldLayoutId id="2147483666" r:id="rId15"/>
    <p:sldLayoutId id="2147483667" r:id="rId16"/>
    <p:sldLayoutId id="2147483671" r:id="rId17"/>
    <p:sldLayoutId id="2147483670" r:id="rId18"/>
    <p:sldLayoutId id="2147483672" r:id="rId19"/>
    <p:sldLayoutId id="2147483674" r:id="rId20"/>
    <p:sldLayoutId id="2147483675" r:id="rId21"/>
    <p:sldLayoutId id="2147483676" r:id="rId22"/>
    <p:sldLayoutId id="2147483677" r:id="rId23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pos="192" userDrawn="1">
          <p15:clr>
            <a:srgbClr val="F26B43"/>
          </p15:clr>
        </p15:guide>
        <p15:guide id="4" pos="7488" userDrawn="1">
          <p15:clr>
            <a:srgbClr val="F26B43"/>
          </p15:clr>
        </p15:guide>
        <p15:guide id="5" orient="horz" pos="192" userDrawn="1">
          <p15:clr>
            <a:srgbClr val="F26B43"/>
          </p15:clr>
        </p15:guide>
        <p15:guide id="6" orient="horz" pos="4128" userDrawn="1">
          <p15:clr>
            <a:srgbClr val="F26B43"/>
          </p15:clr>
        </p15:guide>
        <p15:guide id="7" orient="horz" pos="393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C8B49B4-01D3-E758-99DB-43EE96D25B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5"/>
            </p:custDataLst>
            <p:extLst>
              <p:ext uri="{D42A27DB-BD31-4B8C-83A1-F6EECF244321}">
                <p14:modId xmlns:p14="http://schemas.microsoft.com/office/powerpoint/2010/main" val="4728259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6" imgW="410" imgH="409" progId="TCLayout.ActiveDocument.1">
                  <p:embed/>
                </p:oleObj>
              </mc:Choice>
              <mc:Fallback>
                <p:oleObj name="think-cell Slide" r:id="rId46" imgW="410" imgH="40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C8B49B4-01D3-E758-99DB-43EE96D25B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0;p28"/>
          <p:cNvSpPr txBox="1">
            <a:spLocks noGrp="1"/>
          </p:cNvSpPr>
          <p:nvPr>
            <p:ph type="title"/>
          </p:nvPr>
        </p:nvSpPr>
        <p:spPr>
          <a:xfrm>
            <a:off x="533400" y="1260318"/>
            <a:ext cx="11271249" cy="81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0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28"/>
          <p:cNvSpPr txBox="1">
            <a:spLocks noGrp="1"/>
          </p:cNvSpPr>
          <p:nvPr>
            <p:ph type="body" idx="1"/>
          </p:nvPr>
        </p:nvSpPr>
        <p:spPr>
          <a:xfrm>
            <a:off x="533400" y="2255521"/>
            <a:ext cx="11279716" cy="37299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175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spcBef>
                <a:spcPts val="35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Char char="-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55600" algn="l" rtl="0"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Char char="-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55600" algn="l" rtl="0"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55600" algn="l" rtl="0"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55600" algn="l" rtl="0"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55600" algn="l" rtl="0"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55600" algn="l" rtl="0">
              <a:spcBef>
                <a:spcPts val="500"/>
              </a:spcBef>
              <a:spcAft>
                <a:spcPts val="500"/>
              </a:spcAft>
              <a:buClr>
                <a:schemeClr val="dk2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33963093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95" r:id="rId13"/>
    <p:sldLayoutId id="2147483696" r:id="rId14"/>
    <p:sldLayoutId id="2147483697" r:id="rId15"/>
    <p:sldLayoutId id="2147483698" r:id="rId16"/>
    <p:sldLayoutId id="2147483699" r:id="rId17"/>
    <p:sldLayoutId id="2147483700" r:id="rId18"/>
    <p:sldLayoutId id="2147483701" r:id="rId19"/>
    <p:sldLayoutId id="2147483702" r:id="rId20"/>
    <p:sldLayoutId id="2147483703" r:id="rId21"/>
    <p:sldLayoutId id="2147483704" r:id="rId22"/>
    <p:sldLayoutId id="2147483705" r:id="rId23"/>
    <p:sldLayoutId id="2147483706" r:id="rId24"/>
    <p:sldLayoutId id="2147483707" r:id="rId25"/>
    <p:sldLayoutId id="2147483708" r:id="rId26"/>
    <p:sldLayoutId id="2147483709" r:id="rId27"/>
    <p:sldLayoutId id="2147483710" r:id="rId28"/>
    <p:sldLayoutId id="2147483711" r:id="rId29"/>
    <p:sldLayoutId id="2147483712" r:id="rId30"/>
    <p:sldLayoutId id="2147483713" r:id="rId31"/>
    <p:sldLayoutId id="2147483714" r:id="rId32"/>
    <p:sldLayoutId id="2147483715" r:id="rId33"/>
    <p:sldLayoutId id="2147483716" r:id="rId34"/>
    <p:sldLayoutId id="2147483717" r:id="rId35"/>
    <p:sldLayoutId id="2147483718" r:id="rId36"/>
    <p:sldLayoutId id="2147483719" r:id="rId37"/>
    <p:sldLayoutId id="2147483720" r:id="rId38"/>
    <p:sldLayoutId id="2147483721" r:id="rId39"/>
    <p:sldLayoutId id="2147483722" r:id="rId40"/>
    <p:sldLayoutId id="2147483723" r:id="rId41"/>
    <p:sldLayoutId id="2147483724" r:id="rId42"/>
    <p:sldLayoutId id="2147483725" r:id="rId43"/>
  </p:sldLayoutIdLst>
  <p:transition>
    <p:wipe dir="r"/>
  </p:transition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27.png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131.xml"/><Relationship Id="rId18" Type="http://schemas.openxmlformats.org/officeDocument/2006/relationships/tags" Target="../tags/tag136.xml"/><Relationship Id="rId26" Type="http://schemas.openxmlformats.org/officeDocument/2006/relationships/tags" Target="../tags/tag144.xml"/><Relationship Id="rId39" Type="http://schemas.openxmlformats.org/officeDocument/2006/relationships/tags" Target="../tags/tag157.xml"/><Relationship Id="rId21" Type="http://schemas.openxmlformats.org/officeDocument/2006/relationships/tags" Target="../tags/tag139.xml"/><Relationship Id="rId34" Type="http://schemas.openxmlformats.org/officeDocument/2006/relationships/tags" Target="../tags/tag152.xml"/><Relationship Id="rId42" Type="http://schemas.openxmlformats.org/officeDocument/2006/relationships/tags" Target="../tags/tag160.xml"/><Relationship Id="rId47" Type="http://schemas.openxmlformats.org/officeDocument/2006/relationships/tags" Target="../tags/tag165.xml"/><Relationship Id="rId50" Type="http://schemas.openxmlformats.org/officeDocument/2006/relationships/tags" Target="../tags/tag168.xml"/><Relationship Id="rId55" Type="http://schemas.openxmlformats.org/officeDocument/2006/relationships/image" Target="../media/image45.png"/><Relationship Id="rId7" Type="http://schemas.openxmlformats.org/officeDocument/2006/relationships/tags" Target="../tags/tag125.xml"/><Relationship Id="rId12" Type="http://schemas.openxmlformats.org/officeDocument/2006/relationships/tags" Target="../tags/tag130.xml"/><Relationship Id="rId17" Type="http://schemas.openxmlformats.org/officeDocument/2006/relationships/tags" Target="../tags/tag135.xml"/><Relationship Id="rId25" Type="http://schemas.openxmlformats.org/officeDocument/2006/relationships/tags" Target="../tags/tag143.xml"/><Relationship Id="rId33" Type="http://schemas.openxmlformats.org/officeDocument/2006/relationships/tags" Target="../tags/tag151.xml"/><Relationship Id="rId38" Type="http://schemas.openxmlformats.org/officeDocument/2006/relationships/tags" Target="../tags/tag156.xml"/><Relationship Id="rId46" Type="http://schemas.openxmlformats.org/officeDocument/2006/relationships/tags" Target="../tags/tag164.xml"/><Relationship Id="rId59" Type="http://schemas.openxmlformats.org/officeDocument/2006/relationships/image" Target="../media/image43.png"/><Relationship Id="rId2" Type="http://schemas.openxmlformats.org/officeDocument/2006/relationships/tags" Target="../tags/tag120.xml"/><Relationship Id="rId16" Type="http://schemas.openxmlformats.org/officeDocument/2006/relationships/tags" Target="../tags/tag134.xml"/><Relationship Id="rId20" Type="http://schemas.openxmlformats.org/officeDocument/2006/relationships/tags" Target="../tags/tag138.xml"/><Relationship Id="rId29" Type="http://schemas.openxmlformats.org/officeDocument/2006/relationships/tags" Target="../tags/tag147.xml"/><Relationship Id="rId41" Type="http://schemas.openxmlformats.org/officeDocument/2006/relationships/tags" Target="../tags/tag159.xml"/><Relationship Id="rId54" Type="http://schemas.openxmlformats.org/officeDocument/2006/relationships/hyperlink" Target="https://protect-eu.mimecast.com/s/dcU0CGvvWcz6RjvTke83b/" TargetMode="External"/><Relationship Id="rId1" Type="http://schemas.openxmlformats.org/officeDocument/2006/relationships/tags" Target="../tags/tag119.xml"/><Relationship Id="rId6" Type="http://schemas.openxmlformats.org/officeDocument/2006/relationships/tags" Target="../tags/tag124.xml"/><Relationship Id="rId11" Type="http://schemas.openxmlformats.org/officeDocument/2006/relationships/tags" Target="../tags/tag129.xml"/><Relationship Id="rId24" Type="http://schemas.openxmlformats.org/officeDocument/2006/relationships/tags" Target="../tags/tag142.xml"/><Relationship Id="rId32" Type="http://schemas.openxmlformats.org/officeDocument/2006/relationships/tags" Target="../tags/tag150.xml"/><Relationship Id="rId37" Type="http://schemas.openxmlformats.org/officeDocument/2006/relationships/tags" Target="../tags/tag155.xml"/><Relationship Id="rId40" Type="http://schemas.openxmlformats.org/officeDocument/2006/relationships/tags" Target="../tags/tag158.xml"/><Relationship Id="rId45" Type="http://schemas.openxmlformats.org/officeDocument/2006/relationships/tags" Target="../tags/tag163.xml"/><Relationship Id="rId53" Type="http://schemas.openxmlformats.org/officeDocument/2006/relationships/image" Target="../media/image16.png"/><Relationship Id="rId58" Type="http://schemas.openxmlformats.org/officeDocument/2006/relationships/chart" Target="../charts/chart3.xml"/><Relationship Id="rId5" Type="http://schemas.openxmlformats.org/officeDocument/2006/relationships/tags" Target="../tags/tag123.xml"/><Relationship Id="rId15" Type="http://schemas.openxmlformats.org/officeDocument/2006/relationships/tags" Target="../tags/tag133.xml"/><Relationship Id="rId23" Type="http://schemas.openxmlformats.org/officeDocument/2006/relationships/tags" Target="../tags/tag141.xml"/><Relationship Id="rId28" Type="http://schemas.openxmlformats.org/officeDocument/2006/relationships/tags" Target="../tags/tag146.xml"/><Relationship Id="rId36" Type="http://schemas.openxmlformats.org/officeDocument/2006/relationships/tags" Target="../tags/tag154.xml"/><Relationship Id="rId49" Type="http://schemas.openxmlformats.org/officeDocument/2006/relationships/tags" Target="../tags/tag167.xml"/><Relationship Id="rId57" Type="http://schemas.openxmlformats.org/officeDocument/2006/relationships/image" Target="../media/image47.svg"/><Relationship Id="rId10" Type="http://schemas.openxmlformats.org/officeDocument/2006/relationships/tags" Target="../tags/tag128.xml"/><Relationship Id="rId19" Type="http://schemas.openxmlformats.org/officeDocument/2006/relationships/tags" Target="../tags/tag137.xml"/><Relationship Id="rId31" Type="http://schemas.openxmlformats.org/officeDocument/2006/relationships/tags" Target="../tags/tag149.xml"/><Relationship Id="rId44" Type="http://schemas.openxmlformats.org/officeDocument/2006/relationships/tags" Target="../tags/tag162.xml"/><Relationship Id="rId52" Type="http://schemas.openxmlformats.org/officeDocument/2006/relationships/slideLayout" Target="../slideLayouts/slideLayout8.xml"/><Relationship Id="rId60" Type="http://schemas.openxmlformats.org/officeDocument/2006/relationships/image" Target="../media/image44.svg"/><Relationship Id="rId4" Type="http://schemas.openxmlformats.org/officeDocument/2006/relationships/tags" Target="../tags/tag122.xml"/><Relationship Id="rId9" Type="http://schemas.openxmlformats.org/officeDocument/2006/relationships/tags" Target="../tags/tag127.xml"/><Relationship Id="rId14" Type="http://schemas.openxmlformats.org/officeDocument/2006/relationships/tags" Target="../tags/tag132.xml"/><Relationship Id="rId22" Type="http://schemas.openxmlformats.org/officeDocument/2006/relationships/tags" Target="../tags/tag140.xml"/><Relationship Id="rId27" Type="http://schemas.openxmlformats.org/officeDocument/2006/relationships/tags" Target="../tags/tag145.xml"/><Relationship Id="rId30" Type="http://schemas.openxmlformats.org/officeDocument/2006/relationships/tags" Target="../tags/tag148.xml"/><Relationship Id="rId35" Type="http://schemas.openxmlformats.org/officeDocument/2006/relationships/tags" Target="../tags/tag153.xml"/><Relationship Id="rId43" Type="http://schemas.openxmlformats.org/officeDocument/2006/relationships/tags" Target="../tags/tag161.xml"/><Relationship Id="rId48" Type="http://schemas.openxmlformats.org/officeDocument/2006/relationships/tags" Target="../tags/tag166.xml"/><Relationship Id="rId56" Type="http://schemas.openxmlformats.org/officeDocument/2006/relationships/image" Target="../media/image46.png"/><Relationship Id="rId8" Type="http://schemas.openxmlformats.org/officeDocument/2006/relationships/tags" Target="../tags/tag126.xml"/><Relationship Id="rId51" Type="http://schemas.openxmlformats.org/officeDocument/2006/relationships/tags" Target="../tags/tag169.xml"/><Relationship Id="rId3" Type="http://schemas.openxmlformats.org/officeDocument/2006/relationships/tags" Target="../tags/tag121.xml"/></Relationships>
</file>

<file path=ppt/slides/_rels/slide11.xml.rels><?xml version="1.0" encoding="UTF-8" standalone="yes"?>
<Relationships xmlns="http://schemas.openxmlformats.org/package/2006/relationships"><Relationship Id="rId26" Type="http://schemas.openxmlformats.org/officeDocument/2006/relationships/tags" Target="../tags/tag195.xml"/><Relationship Id="rId21" Type="http://schemas.openxmlformats.org/officeDocument/2006/relationships/tags" Target="../tags/tag190.xml"/><Relationship Id="rId42" Type="http://schemas.openxmlformats.org/officeDocument/2006/relationships/tags" Target="../tags/tag211.xml"/><Relationship Id="rId47" Type="http://schemas.openxmlformats.org/officeDocument/2006/relationships/tags" Target="../tags/tag216.xml"/><Relationship Id="rId63" Type="http://schemas.openxmlformats.org/officeDocument/2006/relationships/tags" Target="../tags/tag232.xml"/><Relationship Id="rId68" Type="http://schemas.openxmlformats.org/officeDocument/2006/relationships/tags" Target="../tags/tag237.xml"/><Relationship Id="rId84" Type="http://schemas.openxmlformats.org/officeDocument/2006/relationships/tags" Target="../tags/tag253.xml"/><Relationship Id="rId89" Type="http://schemas.openxmlformats.org/officeDocument/2006/relationships/tags" Target="../tags/tag258.xml"/><Relationship Id="rId112" Type="http://schemas.openxmlformats.org/officeDocument/2006/relationships/image" Target="../media/image50.svg"/><Relationship Id="rId2" Type="http://schemas.openxmlformats.org/officeDocument/2006/relationships/tags" Target="../tags/tag171.xml"/><Relationship Id="rId16" Type="http://schemas.openxmlformats.org/officeDocument/2006/relationships/tags" Target="../tags/tag185.xml"/><Relationship Id="rId29" Type="http://schemas.openxmlformats.org/officeDocument/2006/relationships/tags" Target="../tags/tag198.xml"/><Relationship Id="rId107" Type="http://schemas.openxmlformats.org/officeDocument/2006/relationships/image" Target="../media/image44.svg"/><Relationship Id="rId11" Type="http://schemas.openxmlformats.org/officeDocument/2006/relationships/tags" Target="../tags/tag180.xml"/><Relationship Id="rId24" Type="http://schemas.openxmlformats.org/officeDocument/2006/relationships/tags" Target="../tags/tag193.xml"/><Relationship Id="rId32" Type="http://schemas.openxmlformats.org/officeDocument/2006/relationships/tags" Target="../tags/tag201.xml"/><Relationship Id="rId37" Type="http://schemas.openxmlformats.org/officeDocument/2006/relationships/tags" Target="../tags/tag206.xml"/><Relationship Id="rId40" Type="http://schemas.openxmlformats.org/officeDocument/2006/relationships/tags" Target="../tags/tag209.xml"/><Relationship Id="rId45" Type="http://schemas.openxmlformats.org/officeDocument/2006/relationships/tags" Target="../tags/tag214.xml"/><Relationship Id="rId53" Type="http://schemas.openxmlformats.org/officeDocument/2006/relationships/tags" Target="../tags/tag222.xml"/><Relationship Id="rId58" Type="http://schemas.openxmlformats.org/officeDocument/2006/relationships/tags" Target="../tags/tag227.xml"/><Relationship Id="rId66" Type="http://schemas.openxmlformats.org/officeDocument/2006/relationships/tags" Target="../tags/tag235.xml"/><Relationship Id="rId74" Type="http://schemas.openxmlformats.org/officeDocument/2006/relationships/tags" Target="../tags/tag243.xml"/><Relationship Id="rId79" Type="http://schemas.openxmlformats.org/officeDocument/2006/relationships/tags" Target="../tags/tag248.xml"/><Relationship Id="rId87" Type="http://schemas.openxmlformats.org/officeDocument/2006/relationships/tags" Target="../tags/tag256.xml"/><Relationship Id="rId102" Type="http://schemas.openxmlformats.org/officeDocument/2006/relationships/tags" Target="../tags/tag271.xml"/><Relationship Id="rId110" Type="http://schemas.openxmlformats.org/officeDocument/2006/relationships/image" Target="../media/image48.png"/><Relationship Id="rId5" Type="http://schemas.openxmlformats.org/officeDocument/2006/relationships/tags" Target="../tags/tag174.xml"/><Relationship Id="rId61" Type="http://schemas.openxmlformats.org/officeDocument/2006/relationships/tags" Target="../tags/tag230.xml"/><Relationship Id="rId82" Type="http://schemas.openxmlformats.org/officeDocument/2006/relationships/tags" Target="../tags/tag251.xml"/><Relationship Id="rId90" Type="http://schemas.openxmlformats.org/officeDocument/2006/relationships/tags" Target="../tags/tag259.xml"/><Relationship Id="rId95" Type="http://schemas.openxmlformats.org/officeDocument/2006/relationships/tags" Target="../tags/tag264.xml"/><Relationship Id="rId19" Type="http://schemas.openxmlformats.org/officeDocument/2006/relationships/tags" Target="../tags/tag188.xml"/><Relationship Id="rId14" Type="http://schemas.openxmlformats.org/officeDocument/2006/relationships/tags" Target="../tags/tag183.xml"/><Relationship Id="rId22" Type="http://schemas.openxmlformats.org/officeDocument/2006/relationships/tags" Target="../tags/tag191.xml"/><Relationship Id="rId27" Type="http://schemas.openxmlformats.org/officeDocument/2006/relationships/tags" Target="../tags/tag196.xml"/><Relationship Id="rId30" Type="http://schemas.openxmlformats.org/officeDocument/2006/relationships/tags" Target="../tags/tag199.xml"/><Relationship Id="rId35" Type="http://schemas.openxmlformats.org/officeDocument/2006/relationships/tags" Target="../tags/tag204.xml"/><Relationship Id="rId43" Type="http://schemas.openxmlformats.org/officeDocument/2006/relationships/tags" Target="../tags/tag212.xml"/><Relationship Id="rId48" Type="http://schemas.openxmlformats.org/officeDocument/2006/relationships/tags" Target="../tags/tag217.xml"/><Relationship Id="rId56" Type="http://schemas.openxmlformats.org/officeDocument/2006/relationships/tags" Target="../tags/tag225.xml"/><Relationship Id="rId64" Type="http://schemas.openxmlformats.org/officeDocument/2006/relationships/tags" Target="../tags/tag233.xml"/><Relationship Id="rId69" Type="http://schemas.openxmlformats.org/officeDocument/2006/relationships/tags" Target="../tags/tag238.xml"/><Relationship Id="rId77" Type="http://schemas.openxmlformats.org/officeDocument/2006/relationships/tags" Target="../tags/tag246.xml"/><Relationship Id="rId100" Type="http://schemas.openxmlformats.org/officeDocument/2006/relationships/tags" Target="../tags/tag269.xml"/><Relationship Id="rId105" Type="http://schemas.openxmlformats.org/officeDocument/2006/relationships/chart" Target="../charts/chart4.xml"/><Relationship Id="rId8" Type="http://schemas.openxmlformats.org/officeDocument/2006/relationships/tags" Target="../tags/tag177.xml"/><Relationship Id="rId51" Type="http://schemas.openxmlformats.org/officeDocument/2006/relationships/tags" Target="../tags/tag220.xml"/><Relationship Id="rId72" Type="http://schemas.openxmlformats.org/officeDocument/2006/relationships/tags" Target="../tags/tag241.xml"/><Relationship Id="rId80" Type="http://schemas.openxmlformats.org/officeDocument/2006/relationships/tags" Target="../tags/tag249.xml"/><Relationship Id="rId85" Type="http://schemas.openxmlformats.org/officeDocument/2006/relationships/tags" Target="../tags/tag254.xml"/><Relationship Id="rId93" Type="http://schemas.openxmlformats.org/officeDocument/2006/relationships/tags" Target="../tags/tag262.xml"/><Relationship Id="rId98" Type="http://schemas.openxmlformats.org/officeDocument/2006/relationships/tags" Target="../tags/tag267.xml"/><Relationship Id="rId3" Type="http://schemas.openxmlformats.org/officeDocument/2006/relationships/tags" Target="../tags/tag172.xml"/><Relationship Id="rId12" Type="http://schemas.openxmlformats.org/officeDocument/2006/relationships/tags" Target="../tags/tag181.xml"/><Relationship Id="rId17" Type="http://schemas.openxmlformats.org/officeDocument/2006/relationships/tags" Target="../tags/tag186.xml"/><Relationship Id="rId25" Type="http://schemas.openxmlformats.org/officeDocument/2006/relationships/tags" Target="../tags/tag194.xml"/><Relationship Id="rId33" Type="http://schemas.openxmlformats.org/officeDocument/2006/relationships/tags" Target="../tags/tag202.xml"/><Relationship Id="rId38" Type="http://schemas.openxmlformats.org/officeDocument/2006/relationships/tags" Target="../tags/tag207.xml"/><Relationship Id="rId46" Type="http://schemas.openxmlformats.org/officeDocument/2006/relationships/tags" Target="../tags/tag215.xml"/><Relationship Id="rId59" Type="http://schemas.openxmlformats.org/officeDocument/2006/relationships/tags" Target="../tags/tag228.xml"/><Relationship Id="rId67" Type="http://schemas.openxmlformats.org/officeDocument/2006/relationships/tags" Target="../tags/tag236.xml"/><Relationship Id="rId103" Type="http://schemas.openxmlformats.org/officeDocument/2006/relationships/slideLayout" Target="../slideLayouts/slideLayout8.xml"/><Relationship Id="rId108" Type="http://schemas.openxmlformats.org/officeDocument/2006/relationships/hyperlink" Target="https://protect-eu.mimecast.com/s/dcU0CGvvWcz6RjvTke83b/" TargetMode="External"/><Relationship Id="rId20" Type="http://schemas.openxmlformats.org/officeDocument/2006/relationships/tags" Target="../tags/tag189.xml"/><Relationship Id="rId41" Type="http://schemas.openxmlformats.org/officeDocument/2006/relationships/tags" Target="../tags/tag210.xml"/><Relationship Id="rId54" Type="http://schemas.openxmlformats.org/officeDocument/2006/relationships/tags" Target="../tags/tag223.xml"/><Relationship Id="rId62" Type="http://schemas.openxmlformats.org/officeDocument/2006/relationships/tags" Target="../tags/tag231.xml"/><Relationship Id="rId70" Type="http://schemas.openxmlformats.org/officeDocument/2006/relationships/tags" Target="../tags/tag239.xml"/><Relationship Id="rId75" Type="http://schemas.openxmlformats.org/officeDocument/2006/relationships/tags" Target="../tags/tag244.xml"/><Relationship Id="rId83" Type="http://schemas.openxmlformats.org/officeDocument/2006/relationships/tags" Target="../tags/tag252.xml"/><Relationship Id="rId88" Type="http://schemas.openxmlformats.org/officeDocument/2006/relationships/tags" Target="../tags/tag257.xml"/><Relationship Id="rId91" Type="http://schemas.openxmlformats.org/officeDocument/2006/relationships/tags" Target="../tags/tag260.xml"/><Relationship Id="rId96" Type="http://schemas.openxmlformats.org/officeDocument/2006/relationships/tags" Target="../tags/tag265.xml"/><Relationship Id="rId111" Type="http://schemas.openxmlformats.org/officeDocument/2006/relationships/image" Target="../media/image49.png"/><Relationship Id="rId1" Type="http://schemas.openxmlformats.org/officeDocument/2006/relationships/tags" Target="../tags/tag170.xml"/><Relationship Id="rId6" Type="http://schemas.openxmlformats.org/officeDocument/2006/relationships/tags" Target="../tags/tag175.xml"/><Relationship Id="rId15" Type="http://schemas.openxmlformats.org/officeDocument/2006/relationships/tags" Target="../tags/tag184.xml"/><Relationship Id="rId23" Type="http://schemas.openxmlformats.org/officeDocument/2006/relationships/tags" Target="../tags/tag192.xml"/><Relationship Id="rId28" Type="http://schemas.openxmlformats.org/officeDocument/2006/relationships/tags" Target="../tags/tag197.xml"/><Relationship Id="rId36" Type="http://schemas.openxmlformats.org/officeDocument/2006/relationships/tags" Target="../tags/tag205.xml"/><Relationship Id="rId49" Type="http://schemas.openxmlformats.org/officeDocument/2006/relationships/tags" Target="../tags/tag218.xml"/><Relationship Id="rId57" Type="http://schemas.openxmlformats.org/officeDocument/2006/relationships/tags" Target="../tags/tag226.xml"/><Relationship Id="rId106" Type="http://schemas.openxmlformats.org/officeDocument/2006/relationships/image" Target="../media/image43.png"/><Relationship Id="rId10" Type="http://schemas.openxmlformats.org/officeDocument/2006/relationships/tags" Target="../tags/tag179.xml"/><Relationship Id="rId31" Type="http://schemas.openxmlformats.org/officeDocument/2006/relationships/tags" Target="../tags/tag200.xml"/><Relationship Id="rId44" Type="http://schemas.openxmlformats.org/officeDocument/2006/relationships/tags" Target="../tags/tag213.xml"/><Relationship Id="rId52" Type="http://schemas.openxmlformats.org/officeDocument/2006/relationships/tags" Target="../tags/tag221.xml"/><Relationship Id="rId60" Type="http://schemas.openxmlformats.org/officeDocument/2006/relationships/tags" Target="../tags/tag229.xml"/><Relationship Id="rId65" Type="http://schemas.openxmlformats.org/officeDocument/2006/relationships/tags" Target="../tags/tag234.xml"/><Relationship Id="rId73" Type="http://schemas.openxmlformats.org/officeDocument/2006/relationships/tags" Target="../tags/tag242.xml"/><Relationship Id="rId78" Type="http://schemas.openxmlformats.org/officeDocument/2006/relationships/tags" Target="../tags/tag247.xml"/><Relationship Id="rId81" Type="http://schemas.openxmlformats.org/officeDocument/2006/relationships/tags" Target="../tags/tag250.xml"/><Relationship Id="rId86" Type="http://schemas.openxmlformats.org/officeDocument/2006/relationships/tags" Target="../tags/tag255.xml"/><Relationship Id="rId94" Type="http://schemas.openxmlformats.org/officeDocument/2006/relationships/tags" Target="../tags/tag263.xml"/><Relationship Id="rId99" Type="http://schemas.openxmlformats.org/officeDocument/2006/relationships/tags" Target="../tags/tag268.xml"/><Relationship Id="rId101" Type="http://schemas.openxmlformats.org/officeDocument/2006/relationships/tags" Target="../tags/tag270.xml"/><Relationship Id="rId4" Type="http://schemas.openxmlformats.org/officeDocument/2006/relationships/tags" Target="../tags/tag173.xml"/><Relationship Id="rId9" Type="http://schemas.openxmlformats.org/officeDocument/2006/relationships/tags" Target="../tags/tag178.xml"/><Relationship Id="rId13" Type="http://schemas.openxmlformats.org/officeDocument/2006/relationships/tags" Target="../tags/tag182.xml"/><Relationship Id="rId18" Type="http://schemas.openxmlformats.org/officeDocument/2006/relationships/tags" Target="../tags/tag187.xml"/><Relationship Id="rId39" Type="http://schemas.openxmlformats.org/officeDocument/2006/relationships/tags" Target="../tags/tag208.xml"/><Relationship Id="rId109" Type="http://schemas.openxmlformats.org/officeDocument/2006/relationships/chart" Target="../charts/chart5.xml"/><Relationship Id="rId34" Type="http://schemas.openxmlformats.org/officeDocument/2006/relationships/tags" Target="../tags/tag203.xml"/><Relationship Id="rId50" Type="http://schemas.openxmlformats.org/officeDocument/2006/relationships/tags" Target="../tags/tag219.xml"/><Relationship Id="rId55" Type="http://schemas.openxmlformats.org/officeDocument/2006/relationships/tags" Target="../tags/tag224.xml"/><Relationship Id="rId76" Type="http://schemas.openxmlformats.org/officeDocument/2006/relationships/tags" Target="../tags/tag245.xml"/><Relationship Id="rId97" Type="http://schemas.openxmlformats.org/officeDocument/2006/relationships/tags" Target="../tags/tag266.xml"/><Relationship Id="rId104" Type="http://schemas.openxmlformats.org/officeDocument/2006/relationships/image" Target="../media/image16.png"/><Relationship Id="rId7" Type="http://schemas.openxmlformats.org/officeDocument/2006/relationships/tags" Target="../tags/tag176.xml"/><Relationship Id="rId71" Type="http://schemas.openxmlformats.org/officeDocument/2006/relationships/tags" Target="../tags/tag240.xml"/><Relationship Id="rId92" Type="http://schemas.openxmlformats.org/officeDocument/2006/relationships/tags" Target="../tags/tag261.xml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tags" Target="../tags/tag284.xml"/><Relationship Id="rId18" Type="http://schemas.openxmlformats.org/officeDocument/2006/relationships/tags" Target="../tags/tag289.xml"/><Relationship Id="rId26" Type="http://schemas.openxmlformats.org/officeDocument/2006/relationships/tags" Target="../tags/tag297.xml"/><Relationship Id="rId39" Type="http://schemas.openxmlformats.org/officeDocument/2006/relationships/tags" Target="../tags/tag310.xml"/><Relationship Id="rId21" Type="http://schemas.openxmlformats.org/officeDocument/2006/relationships/tags" Target="../tags/tag292.xml"/><Relationship Id="rId34" Type="http://schemas.openxmlformats.org/officeDocument/2006/relationships/tags" Target="../tags/tag305.xml"/><Relationship Id="rId42" Type="http://schemas.openxmlformats.org/officeDocument/2006/relationships/tags" Target="../tags/tag313.xml"/><Relationship Id="rId47" Type="http://schemas.openxmlformats.org/officeDocument/2006/relationships/tags" Target="../tags/tag318.xml"/><Relationship Id="rId50" Type="http://schemas.openxmlformats.org/officeDocument/2006/relationships/tags" Target="../tags/tag321.xml"/><Relationship Id="rId55" Type="http://schemas.openxmlformats.org/officeDocument/2006/relationships/tags" Target="../tags/tag326.xml"/><Relationship Id="rId63" Type="http://schemas.openxmlformats.org/officeDocument/2006/relationships/image" Target="../media/image49.png"/><Relationship Id="rId7" Type="http://schemas.openxmlformats.org/officeDocument/2006/relationships/tags" Target="../tags/tag278.xml"/><Relationship Id="rId2" Type="http://schemas.openxmlformats.org/officeDocument/2006/relationships/tags" Target="../tags/tag273.xml"/><Relationship Id="rId16" Type="http://schemas.openxmlformats.org/officeDocument/2006/relationships/tags" Target="../tags/tag287.xml"/><Relationship Id="rId20" Type="http://schemas.openxmlformats.org/officeDocument/2006/relationships/tags" Target="../tags/tag291.xml"/><Relationship Id="rId29" Type="http://schemas.openxmlformats.org/officeDocument/2006/relationships/tags" Target="../tags/tag300.xml"/><Relationship Id="rId41" Type="http://schemas.openxmlformats.org/officeDocument/2006/relationships/tags" Target="../tags/tag312.xml"/><Relationship Id="rId54" Type="http://schemas.openxmlformats.org/officeDocument/2006/relationships/tags" Target="../tags/tag325.xml"/><Relationship Id="rId62" Type="http://schemas.openxmlformats.org/officeDocument/2006/relationships/image" Target="../media/image48.png"/><Relationship Id="rId1" Type="http://schemas.openxmlformats.org/officeDocument/2006/relationships/tags" Target="../tags/tag272.xml"/><Relationship Id="rId6" Type="http://schemas.openxmlformats.org/officeDocument/2006/relationships/tags" Target="../tags/tag277.xml"/><Relationship Id="rId11" Type="http://schemas.openxmlformats.org/officeDocument/2006/relationships/tags" Target="../tags/tag282.xml"/><Relationship Id="rId24" Type="http://schemas.openxmlformats.org/officeDocument/2006/relationships/tags" Target="../tags/tag295.xml"/><Relationship Id="rId32" Type="http://schemas.openxmlformats.org/officeDocument/2006/relationships/tags" Target="../tags/tag303.xml"/><Relationship Id="rId37" Type="http://schemas.openxmlformats.org/officeDocument/2006/relationships/tags" Target="../tags/tag308.xml"/><Relationship Id="rId40" Type="http://schemas.openxmlformats.org/officeDocument/2006/relationships/tags" Target="../tags/tag311.xml"/><Relationship Id="rId45" Type="http://schemas.openxmlformats.org/officeDocument/2006/relationships/tags" Target="../tags/tag316.xml"/><Relationship Id="rId53" Type="http://schemas.openxmlformats.org/officeDocument/2006/relationships/tags" Target="../tags/tag324.xml"/><Relationship Id="rId58" Type="http://schemas.openxmlformats.org/officeDocument/2006/relationships/hyperlink" Target="https://protect-eu.mimecast.com/s/dcU0CGvvWcz6RjvTke83b/" TargetMode="External"/><Relationship Id="rId5" Type="http://schemas.openxmlformats.org/officeDocument/2006/relationships/tags" Target="../tags/tag276.xml"/><Relationship Id="rId15" Type="http://schemas.openxmlformats.org/officeDocument/2006/relationships/tags" Target="../tags/tag286.xml"/><Relationship Id="rId23" Type="http://schemas.openxmlformats.org/officeDocument/2006/relationships/tags" Target="../tags/tag294.xml"/><Relationship Id="rId28" Type="http://schemas.openxmlformats.org/officeDocument/2006/relationships/tags" Target="../tags/tag299.xml"/><Relationship Id="rId36" Type="http://schemas.openxmlformats.org/officeDocument/2006/relationships/tags" Target="../tags/tag307.xml"/><Relationship Id="rId49" Type="http://schemas.openxmlformats.org/officeDocument/2006/relationships/tags" Target="../tags/tag320.xml"/><Relationship Id="rId57" Type="http://schemas.openxmlformats.org/officeDocument/2006/relationships/image" Target="../media/image16.png"/><Relationship Id="rId61" Type="http://schemas.openxmlformats.org/officeDocument/2006/relationships/image" Target="../media/image44.svg"/><Relationship Id="rId10" Type="http://schemas.openxmlformats.org/officeDocument/2006/relationships/tags" Target="../tags/tag281.xml"/><Relationship Id="rId19" Type="http://schemas.openxmlformats.org/officeDocument/2006/relationships/tags" Target="../tags/tag290.xml"/><Relationship Id="rId31" Type="http://schemas.openxmlformats.org/officeDocument/2006/relationships/tags" Target="../tags/tag302.xml"/><Relationship Id="rId44" Type="http://schemas.openxmlformats.org/officeDocument/2006/relationships/tags" Target="../tags/tag315.xml"/><Relationship Id="rId52" Type="http://schemas.openxmlformats.org/officeDocument/2006/relationships/tags" Target="../tags/tag323.xml"/><Relationship Id="rId60" Type="http://schemas.openxmlformats.org/officeDocument/2006/relationships/image" Target="../media/image43.png"/><Relationship Id="rId4" Type="http://schemas.openxmlformats.org/officeDocument/2006/relationships/tags" Target="../tags/tag275.xml"/><Relationship Id="rId9" Type="http://schemas.openxmlformats.org/officeDocument/2006/relationships/tags" Target="../tags/tag280.xml"/><Relationship Id="rId14" Type="http://schemas.openxmlformats.org/officeDocument/2006/relationships/tags" Target="../tags/tag285.xml"/><Relationship Id="rId22" Type="http://schemas.openxmlformats.org/officeDocument/2006/relationships/tags" Target="../tags/tag293.xml"/><Relationship Id="rId27" Type="http://schemas.openxmlformats.org/officeDocument/2006/relationships/tags" Target="../tags/tag298.xml"/><Relationship Id="rId30" Type="http://schemas.openxmlformats.org/officeDocument/2006/relationships/tags" Target="../tags/tag301.xml"/><Relationship Id="rId35" Type="http://schemas.openxmlformats.org/officeDocument/2006/relationships/tags" Target="../tags/tag306.xml"/><Relationship Id="rId43" Type="http://schemas.openxmlformats.org/officeDocument/2006/relationships/tags" Target="../tags/tag314.xml"/><Relationship Id="rId48" Type="http://schemas.openxmlformats.org/officeDocument/2006/relationships/tags" Target="../tags/tag319.xml"/><Relationship Id="rId56" Type="http://schemas.openxmlformats.org/officeDocument/2006/relationships/slideLayout" Target="../slideLayouts/slideLayout8.xml"/><Relationship Id="rId64" Type="http://schemas.openxmlformats.org/officeDocument/2006/relationships/image" Target="../media/image50.svg"/><Relationship Id="rId8" Type="http://schemas.openxmlformats.org/officeDocument/2006/relationships/tags" Target="../tags/tag279.xml"/><Relationship Id="rId51" Type="http://schemas.openxmlformats.org/officeDocument/2006/relationships/tags" Target="../tags/tag322.xml"/><Relationship Id="rId3" Type="http://schemas.openxmlformats.org/officeDocument/2006/relationships/tags" Target="../tags/tag274.xml"/><Relationship Id="rId12" Type="http://schemas.openxmlformats.org/officeDocument/2006/relationships/tags" Target="../tags/tag283.xml"/><Relationship Id="rId17" Type="http://schemas.openxmlformats.org/officeDocument/2006/relationships/tags" Target="../tags/tag288.xml"/><Relationship Id="rId25" Type="http://schemas.openxmlformats.org/officeDocument/2006/relationships/tags" Target="../tags/tag296.xml"/><Relationship Id="rId33" Type="http://schemas.openxmlformats.org/officeDocument/2006/relationships/tags" Target="../tags/tag304.xml"/><Relationship Id="rId38" Type="http://schemas.openxmlformats.org/officeDocument/2006/relationships/tags" Target="../tags/tag309.xml"/><Relationship Id="rId46" Type="http://schemas.openxmlformats.org/officeDocument/2006/relationships/tags" Target="../tags/tag317.xml"/><Relationship Id="rId59" Type="http://schemas.openxmlformats.org/officeDocument/2006/relationships/chart" Target="../charts/char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27.xml"/><Relationship Id="rId6" Type="http://schemas.openxmlformats.org/officeDocument/2006/relationships/image" Target="../media/image16.png"/><Relationship Id="rId5" Type="http://schemas.openxmlformats.org/officeDocument/2006/relationships/image" Target="../media/image51.jpe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29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.xml"/><Relationship Id="rId6" Type="http://schemas.openxmlformats.org/officeDocument/2006/relationships/image" Target="../media/image16.png"/><Relationship Id="rId5" Type="http://schemas.openxmlformats.org/officeDocument/2006/relationships/image" Target="../media/image28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3" Type="http://schemas.openxmlformats.org/officeDocument/2006/relationships/oleObject" Target="../embeddings/oleObject3.bin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5.xml"/><Relationship Id="rId6" Type="http://schemas.openxmlformats.org/officeDocument/2006/relationships/hyperlink" Target="https://www.cmegroup.com/markets/agriculture/grains/corn.quotes.html" TargetMode="External"/><Relationship Id="rId5" Type="http://schemas.openxmlformats.org/officeDocument/2006/relationships/hyperlink" Target="https://live.euronext.com/en/product/commodities-futures/EBM-DPAR" TargetMode="External"/><Relationship Id="rId10" Type="http://schemas.openxmlformats.org/officeDocument/2006/relationships/image" Target="../media/image32.png"/><Relationship Id="rId4" Type="http://schemas.openxmlformats.org/officeDocument/2006/relationships/image" Target="../media/image1.emf"/><Relationship Id="rId9" Type="http://schemas.openxmlformats.org/officeDocument/2006/relationships/image" Target="../media/image3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6.png"/><Relationship Id="rId4" Type="http://schemas.openxmlformats.org/officeDocument/2006/relationships/image" Target="../media/image3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sv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9.png"/><Relationship Id="rId12" Type="http://schemas.openxmlformats.org/officeDocument/2006/relationships/image" Target="../media/image16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6.xml"/><Relationship Id="rId6" Type="http://schemas.openxmlformats.org/officeDocument/2006/relationships/image" Target="../media/image38.png"/><Relationship Id="rId11" Type="http://schemas.openxmlformats.org/officeDocument/2006/relationships/image" Target="../media/image41.png"/><Relationship Id="rId5" Type="http://schemas.openxmlformats.org/officeDocument/2006/relationships/image" Target="../media/image37.emf"/><Relationship Id="rId10" Type="http://schemas.openxmlformats.org/officeDocument/2006/relationships/image" Target="../media/image32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3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7.xml"/><Relationship Id="rId6" Type="http://schemas.openxmlformats.org/officeDocument/2006/relationships/image" Target="../media/image16.png"/><Relationship Id="rId5" Type="http://schemas.openxmlformats.org/officeDocument/2006/relationships/hyperlink" Target="https://commodities.cropwise.com.ru/" TargetMode="Externa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video" Target="../media/media1.mp4"/><Relationship Id="rId7" Type="http://schemas.openxmlformats.org/officeDocument/2006/relationships/hyperlink" Target="https://commodities.cropwise.com/ru/" TargetMode="External"/><Relationship Id="rId2" Type="http://schemas.microsoft.com/office/2007/relationships/media" Target="../media/media1.mp4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10" Type="http://schemas.openxmlformats.org/officeDocument/2006/relationships/image" Target="../media/image42.png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26" Type="http://schemas.openxmlformats.org/officeDocument/2006/relationships/tags" Target="../tags/tag34.xml"/><Relationship Id="rId117" Type="http://schemas.openxmlformats.org/officeDocument/2006/relationships/image" Target="../media/image45.png"/><Relationship Id="rId21" Type="http://schemas.openxmlformats.org/officeDocument/2006/relationships/tags" Target="../tags/tag29.xml"/><Relationship Id="rId42" Type="http://schemas.openxmlformats.org/officeDocument/2006/relationships/tags" Target="../tags/tag50.xml"/><Relationship Id="rId47" Type="http://schemas.openxmlformats.org/officeDocument/2006/relationships/tags" Target="../tags/tag55.xml"/><Relationship Id="rId63" Type="http://schemas.openxmlformats.org/officeDocument/2006/relationships/tags" Target="../tags/tag71.xml"/><Relationship Id="rId68" Type="http://schemas.openxmlformats.org/officeDocument/2006/relationships/tags" Target="../tags/tag76.xml"/><Relationship Id="rId84" Type="http://schemas.openxmlformats.org/officeDocument/2006/relationships/tags" Target="../tags/tag92.xml"/><Relationship Id="rId89" Type="http://schemas.openxmlformats.org/officeDocument/2006/relationships/tags" Target="../tags/tag97.xml"/><Relationship Id="rId112" Type="http://schemas.openxmlformats.org/officeDocument/2006/relationships/image" Target="../media/image16.png"/><Relationship Id="rId16" Type="http://schemas.openxmlformats.org/officeDocument/2006/relationships/tags" Target="../tags/tag24.xml"/><Relationship Id="rId107" Type="http://schemas.openxmlformats.org/officeDocument/2006/relationships/tags" Target="../tags/tag115.xml"/><Relationship Id="rId11" Type="http://schemas.openxmlformats.org/officeDocument/2006/relationships/tags" Target="../tags/tag19.xml"/><Relationship Id="rId24" Type="http://schemas.openxmlformats.org/officeDocument/2006/relationships/tags" Target="../tags/tag32.xml"/><Relationship Id="rId32" Type="http://schemas.openxmlformats.org/officeDocument/2006/relationships/tags" Target="../tags/tag40.xml"/><Relationship Id="rId37" Type="http://schemas.openxmlformats.org/officeDocument/2006/relationships/tags" Target="../tags/tag45.xml"/><Relationship Id="rId40" Type="http://schemas.openxmlformats.org/officeDocument/2006/relationships/tags" Target="../tags/tag48.xml"/><Relationship Id="rId45" Type="http://schemas.openxmlformats.org/officeDocument/2006/relationships/tags" Target="../tags/tag53.xml"/><Relationship Id="rId53" Type="http://schemas.openxmlformats.org/officeDocument/2006/relationships/tags" Target="../tags/tag61.xml"/><Relationship Id="rId58" Type="http://schemas.openxmlformats.org/officeDocument/2006/relationships/tags" Target="../tags/tag66.xml"/><Relationship Id="rId66" Type="http://schemas.openxmlformats.org/officeDocument/2006/relationships/tags" Target="../tags/tag74.xml"/><Relationship Id="rId74" Type="http://schemas.openxmlformats.org/officeDocument/2006/relationships/tags" Target="../tags/tag82.xml"/><Relationship Id="rId79" Type="http://schemas.openxmlformats.org/officeDocument/2006/relationships/tags" Target="../tags/tag87.xml"/><Relationship Id="rId87" Type="http://schemas.openxmlformats.org/officeDocument/2006/relationships/tags" Target="../tags/tag95.xml"/><Relationship Id="rId102" Type="http://schemas.openxmlformats.org/officeDocument/2006/relationships/tags" Target="../tags/tag110.xml"/><Relationship Id="rId110" Type="http://schemas.openxmlformats.org/officeDocument/2006/relationships/tags" Target="../tags/tag118.xml"/><Relationship Id="rId115" Type="http://schemas.openxmlformats.org/officeDocument/2006/relationships/image" Target="../media/image44.svg"/><Relationship Id="rId5" Type="http://schemas.openxmlformats.org/officeDocument/2006/relationships/tags" Target="../tags/tag13.xml"/><Relationship Id="rId61" Type="http://schemas.openxmlformats.org/officeDocument/2006/relationships/tags" Target="../tags/tag69.xml"/><Relationship Id="rId82" Type="http://schemas.openxmlformats.org/officeDocument/2006/relationships/tags" Target="../tags/tag90.xml"/><Relationship Id="rId90" Type="http://schemas.openxmlformats.org/officeDocument/2006/relationships/tags" Target="../tags/tag98.xml"/><Relationship Id="rId95" Type="http://schemas.openxmlformats.org/officeDocument/2006/relationships/tags" Target="../tags/tag103.xml"/><Relationship Id="rId19" Type="http://schemas.openxmlformats.org/officeDocument/2006/relationships/tags" Target="../tags/tag27.xml"/><Relationship Id="rId14" Type="http://schemas.openxmlformats.org/officeDocument/2006/relationships/tags" Target="../tags/tag22.xml"/><Relationship Id="rId22" Type="http://schemas.openxmlformats.org/officeDocument/2006/relationships/tags" Target="../tags/tag30.xml"/><Relationship Id="rId27" Type="http://schemas.openxmlformats.org/officeDocument/2006/relationships/tags" Target="../tags/tag35.xml"/><Relationship Id="rId30" Type="http://schemas.openxmlformats.org/officeDocument/2006/relationships/tags" Target="../tags/tag38.xml"/><Relationship Id="rId35" Type="http://schemas.openxmlformats.org/officeDocument/2006/relationships/tags" Target="../tags/tag43.xml"/><Relationship Id="rId43" Type="http://schemas.openxmlformats.org/officeDocument/2006/relationships/tags" Target="../tags/tag51.xml"/><Relationship Id="rId48" Type="http://schemas.openxmlformats.org/officeDocument/2006/relationships/tags" Target="../tags/tag56.xml"/><Relationship Id="rId56" Type="http://schemas.openxmlformats.org/officeDocument/2006/relationships/tags" Target="../tags/tag64.xml"/><Relationship Id="rId64" Type="http://schemas.openxmlformats.org/officeDocument/2006/relationships/tags" Target="../tags/tag72.xml"/><Relationship Id="rId69" Type="http://schemas.openxmlformats.org/officeDocument/2006/relationships/tags" Target="../tags/tag77.xml"/><Relationship Id="rId77" Type="http://schemas.openxmlformats.org/officeDocument/2006/relationships/tags" Target="../tags/tag85.xml"/><Relationship Id="rId100" Type="http://schemas.openxmlformats.org/officeDocument/2006/relationships/tags" Target="../tags/tag108.xml"/><Relationship Id="rId105" Type="http://schemas.openxmlformats.org/officeDocument/2006/relationships/tags" Target="../tags/tag113.xml"/><Relationship Id="rId113" Type="http://schemas.openxmlformats.org/officeDocument/2006/relationships/chart" Target="../charts/chart1.xml"/><Relationship Id="rId118" Type="http://schemas.openxmlformats.org/officeDocument/2006/relationships/image" Target="../media/image46.png"/><Relationship Id="rId8" Type="http://schemas.openxmlformats.org/officeDocument/2006/relationships/tags" Target="../tags/tag16.xml"/><Relationship Id="rId51" Type="http://schemas.openxmlformats.org/officeDocument/2006/relationships/tags" Target="../tags/tag59.xml"/><Relationship Id="rId72" Type="http://schemas.openxmlformats.org/officeDocument/2006/relationships/tags" Target="../tags/tag80.xml"/><Relationship Id="rId80" Type="http://schemas.openxmlformats.org/officeDocument/2006/relationships/tags" Target="../tags/tag88.xml"/><Relationship Id="rId85" Type="http://schemas.openxmlformats.org/officeDocument/2006/relationships/tags" Target="../tags/tag93.xml"/><Relationship Id="rId93" Type="http://schemas.openxmlformats.org/officeDocument/2006/relationships/tags" Target="../tags/tag101.xml"/><Relationship Id="rId98" Type="http://schemas.openxmlformats.org/officeDocument/2006/relationships/tags" Target="../tags/tag106.xml"/><Relationship Id="rId3" Type="http://schemas.openxmlformats.org/officeDocument/2006/relationships/tags" Target="../tags/tag11.xml"/><Relationship Id="rId12" Type="http://schemas.openxmlformats.org/officeDocument/2006/relationships/tags" Target="../tags/tag20.xml"/><Relationship Id="rId17" Type="http://schemas.openxmlformats.org/officeDocument/2006/relationships/tags" Target="../tags/tag25.xml"/><Relationship Id="rId25" Type="http://schemas.openxmlformats.org/officeDocument/2006/relationships/tags" Target="../tags/tag33.xml"/><Relationship Id="rId33" Type="http://schemas.openxmlformats.org/officeDocument/2006/relationships/tags" Target="../tags/tag41.xml"/><Relationship Id="rId38" Type="http://schemas.openxmlformats.org/officeDocument/2006/relationships/tags" Target="../tags/tag46.xml"/><Relationship Id="rId46" Type="http://schemas.openxmlformats.org/officeDocument/2006/relationships/tags" Target="../tags/tag54.xml"/><Relationship Id="rId59" Type="http://schemas.openxmlformats.org/officeDocument/2006/relationships/tags" Target="../tags/tag67.xml"/><Relationship Id="rId67" Type="http://schemas.openxmlformats.org/officeDocument/2006/relationships/tags" Target="../tags/tag75.xml"/><Relationship Id="rId103" Type="http://schemas.openxmlformats.org/officeDocument/2006/relationships/tags" Target="../tags/tag111.xml"/><Relationship Id="rId108" Type="http://schemas.openxmlformats.org/officeDocument/2006/relationships/tags" Target="../tags/tag116.xml"/><Relationship Id="rId116" Type="http://schemas.openxmlformats.org/officeDocument/2006/relationships/hyperlink" Target="https://protect-eu.mimecast.com/s/dcU0CGvvWcz6RjvTke83b/" TargetMode="External"/><Relationship Id="rId20" Type="http://schemas.openxmlformats.org/officeDocument/2006/relationships/tags" Target="../tags/tag28.xml"/><Relationship Id="rId41" Type="http://schemas.openxmlformats.org/officeDocument/2006/relationships/tags" Target="../tags/tag49.xml"/><Relationship Id="rId54" Type="http://schemas.openxmlformats.org/officeDocument/2006/relationships/tags" Target="../tags/tag62.xml"/><Relationship Id="rId62" Type="http://schemas.openxmlformats.org/officeDocument/2006/relationships/tags" Target="../tags/tag70.xml"/><Relationship Id="rId70" Type="http://schemas.openxmlformats.org/officeDocument/2006/relationships/tags" Target="../tags/tag78.xml"/><Relationship Id="rId75" Type="http://schemas.openxmlformats.org/officeDocument/2006/relationships/tags" Target="../tags/tag83.xml"/><Relationship Id="rId83" Type="http://schemas.openxmlformats.org/officeDocument/2006/relationships/tags" Target="../tags/tag91.xml"/><Relationship Id="rId88" Type="http://schemas.openxmlformats.org/officeDocument/2006/relationships/tags" Target="../tags/tag96.xml"/><Relationship Id="rId91" Type="http://schemas.openxmlformats.org/officeDocument/2006/relationships/tags" Target="../tags/tag99.xml"/><Relationship Id="rId96" Type="http://schemas.openxmlformats.org/officeDocument/2006/relationships/tags" Target="../tags/tag104.xml"/><Relationship Id="rId111" Type="http://schemas.openxmlformats.org/officeDocument/2006/relationships/slideLayout" Target="../slideLayouts/slideLayout8.xml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15" Type="http://schemas.openxmlformats.org/officeDocument/2006/relationships/tags" Target="../tags/tag23.xml"/><Relationship Id="rId23" Type="http://schemas.openxmlformats.org/officeDocument/2006/relationships/tags" Target="../tags/tag31.xml"/><Relationship Id="rId28" Type="http://schemas.openxmlformats.org/officeDocument/2006/relationships/tags" Target="../tags/tag36.xml"/><Relationship Id="rId36" Type="http://schemas.openxmlformats.org/officeDocument/2006/relationships/tags" Target="../tags/tag44.xml"/><Relationship Id="rId49" Type="http://schemas.openxmlformats.org/officeDocument/2006/relationships/tags" Target="../tags/tag57.xml"/><Relationship Id="rId57" Type="http://schemas.openxmlformats.org/officeDocument/2006/relationships/tags" Target="../tags/tag65.xml"/><Relationship Id="rId106" Type="http://schemas.openxmlformats.org/officeDocument/2006/relationships/tags" Target="../tags/tag114.xml"/><Relationship Id="rId114" Type="http://schemas.openxmlformats.org/officeDocument/2006/relationships/image" Target="../media/image43.png"/><Relationship Id="rId119" Type="http://schemas.openxmlformats.org/officeDocument/2006/relationships/image" Target="../media/image47.svg"/><Relationship Id="rId10" Type="http://schemas.openxmlformats.org/officeDocument/2006/relationships/tags" Target="../tags/tag18.xml"/><Relationship Id="rId31" Type="http://schemas.openxmlformats.org/officeDocument/2006/relationships/tags" Target="../tags/tag39.xml"/><Relationship Id="rId44" Type="http://schemas.openxmlformats.org/officeDocument/2006/relationships/tags" Target="../tags/tag52.xml"/><Relationship Id="rId52" Type="http://schemas.openxmlformats.org/officeDocument/2006/relationships/tags" Target="../tags/tag60.xml"/><Relationship Id="rId60" Type="http://schemas.openxmlformats.org/officeDocument/2006/relationships/tags" Target="../tags/tag68.xml"/><Relationship Id="rId65" Type="http://schemas.openxmlformats.org/officeDocument/2006/relationships/tags" Target="../tags/tag73.xml"/><Relationship Id="rId73" Type="http://schemas.openxmlformats.org/officeDocument/2006/relationships/tags" Target="../tags/tag81.xml"/><Relationship Id="rId78" Type="http://schemas.openxmlformats.org/officeDocument/2006/relationships/tags" Target="../tags/tag86.xml"/><Relationship Id="rId81" Type="http://schemas.openxmlformats.org/officeDocument/2006/relationships/tags" Target="../tags/tag89.xml"/><Relationship Id="rId86" Type="http://schemas.openxmlformats.org/officeDocument/2006/relationships/tags" Target="../tags/tag94.xml"/><Relationship Id="rId94" Type="http://schemas.openxmlformats.org/officeDocument/2006/relationships/tags" Target="../tags/tag102.xml"/><Relationship Id="rId99" Type="http://schemas.openxmlformats.org/officeDocument/2006/relationships/tags" Target="../tags/tag107.xml"/><Relationship Id="rId101" Type="http://schemas.openxmlformats.org/officeDocument/2006/relationships/tags" Target="../tags/tag109.xml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3" Type="http://schemas.openxmlformats.org/officeDocument/2006/relationships/tags" Target="../tags/tag21.xml"/><Relationship Id="rId18" Type="http://schemas.openxmlformats.org/officeDocument/2006/relationships/tags" Target="../tags/tag26.xml"/><Relationship Id="rId39" Type="http://schemas.openxmlformats.org/officeDocument/2006/relationships/tags" Target="../tags/tag47.xml"/><Relationship Id="rId109" Type="http://schemas.openxmlformats.org/officeDocument/2006/relationships/tags" Target="../tags/tag117.xml"/><Relationship Id="rId34" Type="http://schemas.openxmlformats.org/officeDocument/2006/relationships/tags" Target="../tags/tag42.xml"/><Relationship Id="rId50" Type="http://schemas.openxmlformats.org/officeDocument/2006/relationships/tags" Target="../tags/tag58.xml"/><Relationship Id="rId55" Type="http://schemas.openxmlformats.org/officeDocument/2006/relationships/tags" Target="../tags/tag63.xml"/><Relationship Id="rId76" Type="http://schemas.openxmlformats.org/officeDocument/2006/relationships/tags" Target="../tags/tag84.xml"/><Relationship Id="rId97" Type="http://schemas.openxmlformats.org/officeDocument/2006/relationships/tags" Target="../tags/tag105.xml"/><Relationship Id="rId104" Type="http://schemas.openxmlformats.org/officeDocument/2006/relationships/tags" Target="../tags/tag112.xml"/><Relationship Id="rId120" Type="http://schemas.openxmlformats.org/officeDocument/2006/relationships/chart" Target="../charts/chart2.xml"/><Relationship Id="rId7" Type="http://schemas.openxmlformats.org/officeDocument/2006/relationships/tags" Target="../tags/tag15.xml"/><Relationship Id="rId71" Type="http://schemas.openxmlformats.org/officeDocument/2006/relationships/tags" Target="../tags/tag79.xml"/><Relationship Id="rId92" Type="http://schemas.openxmlformats.org/officeDocument/2006/relationships/tags" Target="../tags/tag100.xml"/><Relationship Id="rId2" Type="http://schemas.openxmlformats.org/officeDocument/2006/relationships/tags" Target="../tags/tag10.xml"/><Relationship Id="rId29" Type="http://schemas.openxmlformats.org/officeDocument/2006/relationships/tags" Target="../tags/tag3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0C066C17-91D9-15BD-651A-F5BCEE21B58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7054083" y="6427215"/>
            <a:ext cx="4114800" cy="243618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r>
              <a:rPr lang="en-GB" dirty="0"/>
              <a:t>CLASSIFICATION: Public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CA19FD7B-3179-7B8C-3C88-CBE8FD0F36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63078" y="6427215"/>
            <a:ext cx="624120" cy="243618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fld id="{219C47F3-E74D-462A-9E9A-E7164C68AF73}" type="slidenum">
              <a:rPr lang="en-GB" smtClean="0"/>
              <a:pPr>
                <a:spcAft>
                  <a:spcPts val="600"/>
                </a:spcAft>
              </a:pPr>
              <a:t>1</a:t>
            </a:fld>
            <a:endParaRPr lang="en-GB" dirty="0"/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DD7C7BDB-A8B0-D85F-11F4-8D570F97038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3883" y="3749461"/>
            <a:ext cx="4005901" cy="829988"/>
          </a:xfrm>
        </p:spPr>
        <p:txBody>
          <a:bodyPr/>
          <a:lstStyle/>
          <a:p>
            <a:r>
              <a:rPr lang="ru-RU" dirty="0"/>
              <a:t>Менеджер по развитию коммерческих проектов </a:t>
            </a:r>
            <a:r>
              <a:rPr lang="ru-RU" b="1" dirty="0"/>
              <a:t>Василий Малыгин</a:t>
            </a:r>
          </a:p>
          <a:p>
            <a:endParaRPr lang="en-US" dirty="0"/>
          </a:p>
        </p:txBody>
      </p:sp>
      <p:pic>
        <p:nvPicPr>
          <p:cNvPr id="10" name="Google Shape;399;p3">
            <a:extLst>
              <a:ext uri="{FF2B5EF4-FFF2-40B4-BE49-F238E27FC236}">
                <a16:creationId xmlns:a16="http://schemas.microsoft.com/office/drawing/2014/main" id="{BC9F93AC-A261-BB13-FBE6-38E913A60426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81" r="26164" b="1"/>
          <a:stretch/>
        </p:blipFill>
        <p:spPr>
          <a:xfrm>
            <a:off x="5162550" y="304800"/>
            <a:ext cx="6724650" cy="5943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Picture 2" descr="A green and black logo&#10;&#10;Description automatically generated">
            <a:extLst>
              <a:ext uri="{FF2B5EF4-FFF2-40B4-BE49-F238E27FC236}">
                <a16:creationId xmlns:a16="http://schemas.microsoft.com/office/drawing/2014/main" id="{33A2B31D-4C7A-8CED-E19C-A64C7571159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5162550" cy="2278553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CBAE8158-60FC-922A-A9D7-8BD23CCB09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6734" y="4338317"/>
            <a:ext cx="1543050" cy="1533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26220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CB04114-61FC-9CBC-C60D-8A1A76163A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329063"/>
            <a:ext cx="8750425" cy="649792"/>
          </a:xfrm>
        </p:spPr>
        <p:txBody>
          <a:bodyPr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lang="ru-RU" sz="1800" b="1" kern="0" dirty="0">
                <a:latin typeface="+mj-lt"/>
              </a:rPr>
              <a:t>Статистика индекса кукуруза</a:t>
            </a:r>
            <a:r>
              <a:rPr lang="en-US" sz="1800" b="1" kern="0" dirty="0">
                <a:latin typeface="+mj-lt"/>
              </a:rPr>
              <a:t>: </a:t>
            </a:r>
            <a:r>
              <a:rPr lang="ru-RU" sz="1800" b="1" kern="0" dirty="0">
                <a:latin typeface="+mj-lt"/>
              </a:rPr>
              <a:t>69</a:t>
            </a:r>
            <a:r>
              <a:rPr lang="en-US" sz="1800" b="1" kern="0" dirty="0">
                <a:latin typeface="+mj-lt"/>
              </a:rPr>
              <a:t>% </a:t>
            </a:r>
            <a:r>
              <a:rPr lang="ru-RU" sz="1800" b="1" kern="0" dirty="0">
                <a:latin typeface="+mj-lt"/>
              </a:rPr>
              <a:t>вероятность получения выплаты по варианту ЗоРРО Классический</a:t>
            </a:r>
            <a:b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ABB6BA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</a:br>
            <a:r>
              <a:rPr kumimoji="0" lang="en-US" sz="1100" b="1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cs typeface="Arial"/>
                <a:sym typeface="Arial"/>
              </a:rPr>
              <a:t>(2011 - 2023 </a:t>
            </a:r>
            <a:r>
              <a:rPr kumimoji="0" lang="ru-RU" sz="1100" b="1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cs typeface="Arial"/>
                <a:sym typeface="Arial"/>
              </a:rPr>
              <a:t>годы</a:t>
            </a:r>
            <a:r>
              <a:rPr kumimoji="0" lang="en-US" sz="1100" b="1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cs typeface="Arial"/>
                <a:sym typeface="Arial"/>
              </a:rPr>
              <a:t>)</a:t>
            </a:r>
            <a:br>
              <a:rPr kumimoji="0" lang="en-US" sz="1100" b="1" i="1" u="none" strike="noStrike" kern="0" cap="none" spc="0" normalizeH="0" baseline="0" noProof="0" dirty="0">
                <a:ln>
                  <a:noFill/>
                </a:ln>
                <a:solidFill>
                  <a:srgbClr val="2000F5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</a:br>
            <a:endParaRPr lang="en-US" sz="1400" b="1" i="1" kern="0" dirty="0">
              <a:latin typeface="+mj-lt"/>
            </a:endParaRP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F0B22062-3D45-3AF0-19AD-1F656449B2A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GB" dirty="0"/>
              <a:t>CLASSIFICATION: </a:t>
            </a:r>
            <a:r>
              <a:rPr lang="en-US" dirty="0"/>
              <a:t>Public</a:t>
            </a:r>
            <a:endParaRPr lang="en-GB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C6891FF4-CED8-6B62-3B95-49BC357A2E7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9C47F3-E74D-462A-9E9A-E7164C68AF73}" type="slidenum">
              <a:rPr lang="en-GB" smtClean="0"/>
              <a:pPr/>
              <a:t>10</a:t>
            </a:fld>
            <a:endParaRPr lang="en-GB"/>
          </a:p>
        </p:txBody>
      </p:sp>
      <p:pic>
        <p:nvPicPr>
          <p:cNvPr id="17" name="Picture 2" descr="A green and black logo&#10;&#10;Description automatically generated">
            <a:extLst>
              <a:ext uri="{FF2B5EF4-FFF2-40B4-BE49-F238E27FC236}">
                <a16:creationId xmlns:a16="http://schemas.microsoft.com/office/drawing/2014/main" id="{154FB624-8989-56B1-EE89-0EDD40C44CEF}"/>
              </a:ext>
            </a:extLst>
          </p:cNvPr>
          <p:cNvPicPr>
            <a:picLocks noChangeAspect="1"/>
          </p:cNvPicPr>
          <p:nvPr/>
        </p:nvPicPr>
        <p:blipFill>
          <a:blip r:embed="rId5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0957" y="0"/>
            <a:ext cx="1881043" cy="792796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7988EC85-D65B-4FFE-A8AD-BA3D7E571935}"/>
              </a:ext>
            </a:extLst>
          </p:cNvPr>
          <p:cNvSpPr txBox="1">
            <a:spLocks/>
          </p:cNvSpPr>
          <p:nvPr/>
        </p:nvSpPr>
        <p:spPr>
          <a:xfrm>
            <a:off x="432512" y="333070"/>
            <a:ext cx="11422938" cy="812800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600" b="1" i="1" u="none" strike="noStrike" kern="0" cap="none" spc="0" normalizeH="0" baseline="0" noProof="0" dirty="0">
              <a:ln>
                <a:noFill/>
              </a:ln>
              <a:solidFill>
                <a:srgbClr val="2000F5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84EF8C5-C61C-404F-3828-4EBAD9AC178A}"/>
              </a:ext>
            </a:extLst>
          </p:cNvPr>
          <p:cNvSpPr txBox="1"/>
          <p:nvPr/>
        </p:nvSpPr>
        <p:spPr>
          <a:xfrm>
            <a:off x="424575" y="5999018"/>
            <a:ext cx="609946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1" u="none" strike="noStrike" kern="0" cap="none" spc="0" normalizeH="0" baseline="0" noProof="0" dirty="0">
                <a:ln>
                  <a:noFill/>
                </a:ln>
                <a:solidFill>
                  <a:srgbClr val="ABB6BA">
                    <a:lumMod val="50000"/>
                  </a:srgbClr>
                </a:solidFill>
                <a:effectLst/>
                <a:uLnTx/>
                <a:uFillTx/>
              </a:rPr>
              <a:t>NB: </a:t>
            </a:r>
            <a:r>
              <a:rPr kumimoji="0" lang="ru-RU" sz="800" b="0" i="1" u="none" strike="noStrike" kern="0" cap="none" spc="0" normalizeH="0" baseline="0" noProof="0" dirty="0">
                <a:ln>
                  <a:noFill/>
                </a:ln>
                <a:solidFill>
                  <a:srgbClr val="ABB6BA">
                    <a:lumMod val="50000"/>
                  </a:srgbClr>
                </a:solidFill>
                <a:effectLst/>
                <a:uLnTx/>
                <a:uFillTx/>
              </a:rPr>
              <a:t>Максимальная выплата </a:t>
            </a:r>
            <a:r>
              <a:rPr kumimoji="0" lang="en-US" sz="800" b="0" i="1" u="none" strike="noStrike" kern="0" cap="none" spc="0" normalizeH="0" baseline="0" noProof="0" dirty="0">
                <a:ln>
                  <a:noFill/>
                </a:ln>
                <a:solidFill>
                  <a:srgbClr val="ABB6BA">
                    <a:lumMod val="50000"/>
                  </a:srgbClr>
                </a:solidFill>
                <a:effectLst/>
                <a:uLnTx/>
                <a:uFillTx/>
              </a:rPr>
              <a:t>15%    |   </a:t>
            </a:r>
            <a:r>
              <a:rPr kumimoji="0" lang="en-US" sz="800" b="0" i="1" u="none" strike="noStrike" kern="0" cap="none" spc="0" normalizeH="0" baseline="0" noProof="0" dirty="0">
                <a:ln>
                  <a:noFill/>
                </a:ln>
                <a:solidFill>
                  <a:srgbClr val="ABB6BA">
                    <a:lumMod val="50000"/>
                  </a:srgbClr>
                </a:solidFill>
                <a:effectLst/>
                <a:uLnTx/>
                <a:uFillTx/>
                <a:latin typeface="Roboto" panose="02000000000000000000" pitchFamily="2" charset="0"/>
                <a:ea typeface="Calibri" panose="020F0502020204030204" pitchFamily="34" charset="0"/>
                <a:cs typeface="Calibri" panose="020F0502020204030204" pitchFamily="34" charset="0"/>
              </a:rPr>
              <a:t>Copyright © 2023. All </a:t>
            </a:r>
            <a:r>
              <a:rPr kumimoji="0" lang="en-US" sz="800" b="0" i="1" u="none" strike="noStrike" kern="0" cap="none" spc="0" normalizeH="0" baseline="0" noProof="0" dirty="0">
                <a:ln>
                  <a:noFill/>
                </a:ln>
                <a:solidFill>
                  <a:srgbClr val="ABB6BA">
                    <a:lumMod val="50000"/>
                  </a:srgbClr>
                </a:solidFill>
                <a:effectLst/>
                <a:uLnTx/>
                <a:uFillTx/>
                <a:latin typeface="Roboto" panose="02000000000000000000" pitchFamily="2" charset="0"/>
                <a:ea typeface="Calibri" panose="020F0502020204030204" pitchFamily="34" charset="0"/>
                <a:hlinkClick r:id="rId5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rket data</a:t>
            </a:r>
            <a:r>
              <a:rPr kumimoji="0" lang="en-US" sz="800" b="0" i="1" u="none" strike="noStrike" kern="0" cap="none" spc="0" normalizeH="0" baseline="0" noProof="0" dirty="0">
                <a:ln>
                  <a:noFill/>
                </a:ln>
                <a:solidFill>
                  <a:srgbClr val="ABB6BA">
                    <a:lumMod val="50000"/>
                  </a:srgbClr>
                </a:solidFill>
                <a:effectLst/>
                <a:uLnTx/>
                <a:uFillTx/>
                <a:latin typeface="Roboto" panose="02000000000000000000" pitchFamily="2" charset="0"/>
                <a:ea typeface="Calibri" panose="020F0502020204030204" pitchFamily="34" charset="0"/>
                <a:cs typeface="Calibri" panose="020F0502020204030204" pitchFamily="34" charset="0"/>
              </a:rPr>
              <a:t> is </a:t>
            </a:r>
            <a:r>
              <a:rPr kumimoji="0" lang="en-US" sz="800" b="0" i="1" u="none" strike="noStrike" kern="0" cap="none" spc="0" normalizeH="0" baseline="0" noProof="0" dirty="0">
                <a:ln>
                  <a:noFill/>
                </a:ln>
                <a:solidFill>
                  <a:srgbClr val="ABB6BA">
                    <a:lumMod val="50000"/>
                  </a:srgbClr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provided</a:t>
            </a:r>
            <a:r>
              <a:rPr kumimoji="0" lang="en-US" sz="800" b="0" i="1" u="none" strike="noStrike" kern="0" cap="none" spc="0" normalizeH="0" baseline="0" noProof="0" dirty="0">
                <a:ln>
                  <a:noFill/>
                </a:ln>
                <a:solidFill>
                  <a:srgbClr val="ABB6BA">
                    <a:lumMod val="50000"/>
                  </a:srgbClr>
                </a:solidFill>
                <a:effectLst/>
                <a:uLnTx/>
                <a:uFillTx/>
                <a:latin typeface="Roboto" panose="02000000000000000000" pitchFamily="2" charset="0"/>
                <a:ea typeface="Calibri" panose="020F0502020204030204" pitchFamily="34" charset="0"/>
                <a:cs typeface="Calibri" panose="020F0502020204030204" pitchFamily="34" charset="0"/>
              </a:rPr>
              <a:t> by Barchart Solutions</a:t>
            </a:r>
            <a:endParaRPr kumimoji="0" lang="en-US" sz="800" b="0" i="1" u="none" strike="noStrike" kern="0" cap="none" spc="0" normalizeH="0" baseline="0" noProof="0" dirty="0">
              <a:ln>
                <a:noFill/>
              </a:ln>
              <a:solidFill>
                <a:srgbClr val="ABB6BA">
                  <a:lumMod val="50000"/>
                </a:srgbClr>
              </a:solidFill>
              <a:effectLst/>
              <a:uLnTx/>
              <a:uFillTx/>
            </a:endParaRPr>
          </a:p>
        </p:txBody>
      </p:sp>
      <p:pic>
        <p:nvPicPr>
          <p:cNvPr id="7" name="Picture 2" descr="Download CME Group Logo in SVG Vector or PNG File Format - Logo.wine">
            <a:extLst>
              <a:ext uri="{FF2B5EF4-FFF2-40B4-BE49-F238E27FC236}">
                <a16:creationId xmlns:a16="http://schemas.microsoft.com/office/drawing/2014/main" id="{474B45FA-C810-DFA3-3EA7-B2645F8D148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72" t="35461" r="8041" b="38860"/>
          <a:stretch/>
        </p:blipFill>
        <p:spPr bwMode="auto">
          <a:xfrm>
            <a:off x="11065652" y="5993987"/>
            <a:ext cx="903321" cy="1881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Graphic 147">
            <a:extLst>
              <a:ext uri="{FF2B5EF4-FFF2-40B4-BE49-F238E27FC236}">
                <a16:creationId xmlns:a16="http://schemas.microsoft.com/office/drawing/2014/main" id="{8260D6B6-C90B-B0F8-708F-8D6CEF192F19}"/>
              </a:ext>
            </a:extLst>
          </p:cNvPr>
          <p:cNvPicPr>
            <a:picLocks noChangeAspect="1"/>
          </p:cNvPicPr>
          <p:nvPr/>
        </p:nvPicPr>
        <p:blipFill>
          <a:blip r:embed="rId5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7"/>
              </a:ext>
            </a:extLst>
          </a:blip>
          <a:stretch>
            <a:fillRect/>
          </a:stretch>
        </p:blipFill>
        <p:spPr>
          <a:xfrm>
            <a:off x="11039972" y="864896"/>
            <a:ext cx="600239" cy="600239"/>
          </a:xfrm>
          <a:prstGeom prst="rect">
            <a:avLst/>
          </a:prstGeom>
        </p:spPr>
      </p:pic>
      <p:sp>
        <p:nvSpPr>
          <p:cNvPr id="9" name="Rectangle 217">
            <a:extLst>
              <a:ext uri="{FF2B5EF4-FFF2-40B4-BE49-F238E27FC236}">
                <a16:creationId xmlns:a16="http://schemas.microsoft.com/office/drawing/2014/main" id="{9ACAA32C-55BE-5871-FD1B-921BB72CFC34}"/>
              </a:ext>
            </a:extLst>
          </p:cNvPr>
          <p:cNvSpPr/>
          <p:nvPr/>
        </p:nvSpPr>
        <p:spPr>
          <a:xfrm>
            <a:off x="1531938" y="1550988"/>
            <a:ext cx="10448925" cy="4022725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10A1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10" name="Chart 61">
            <a:extLst>
              <a:ext uri="{FF2B5EF4-FFF2-40B4-BE49-F238E27FC236}">
                <a16:creationId xmlns:a16="http://schemas.microsoft.com/office/drawing/2014/main" id="{EAAD5C1E-87F3-AC75-7776-88DA8A9CF9D9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1636713" y="1849438"/>
          <a:ext cx="10253662" cy="34559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8"/>
          </a:graphicData>
        </a:graphic>
      </p:graphicFrame>
      <p:cxnSp>
        <p:nvCxnSpPr>
          <p:cNvPr id="11" name="Straight Connector 219">
            <a:extLst>
              <a:ext uri="{FF2B5EF4-FFF2-40B4-BE49-F238E27FC236}">
                <a16:creationId xmlns:a16="http://schemas.microsoft.com/office/drawing/2014/main" id="{E05209BC-CD6C-9F11-6FCA-6F9AF45DB028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3749675" y="3367088"/>
            <a:ext cx="269875" cy="0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2" name="Straight Connector 220">
            <a:extLst>
              <a:ext uri="{FF2B5EF4-FFF2-40B4-BE49-F238E27FC236}">
                <a16:creationId xmlns:a16="http://schemas.microsoft.com/office/drawing/2014/main" id="{04ECDAD9-823B-728A-86CC-5380700A2EF6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3749675" y="3367088"/>
            <a:ext cx="0" cy="16351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3" name="Straight Connector 221">
            <a:extLst>
              <a:ext uri="{FF2B5EF4-FFF2-40B4-BE49-F238E27FC236}">
                <a16:creationId xmlns:a16="http://schemas.microsoft.com/office/drawing/2014/main" id="{C4B7F832-CEFF-A2CC-8A6E-12DAF2920ECB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4019550" y="3367088"/>
            <a:ext cx="0" cy="796925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</p:cxnSp>
      <p:cxnSp>
        <p:nvCxnSpPr>
          <p:cNvPr id="14" name="Straight Connector 222">
            <a:extLst>
              <a:ext uri="{FF2B5EF4-FFF2-40B4-BE49-F238E27FC236}">
                <a16:creationId xmlns:a16="http://schemas.microsoft.com/office/drawing/2014/main" id="{C26AC523-AC4C-6A21-78FD-9F7B807509C0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V="1">
            <a:off x="4503738" y="4017963"/>
            <a:ext cx="0" cy="16351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5" name="Straight Connector 223">
            <a:extLst>
              <a:ext uri="{FF2B5EF4-FFF2-40B4-BE49-F238E27FC236}">
                <a16:creationId xmlns:a16="http://schemas.microsoft.com/office/drawing/2014/main" id="{EDD56822-7355-C8BD-DA2E-A1A6912A11EC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4503738" y="4017963"/>
            <a:ext cx="269875" cy="0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6" name="Straight Connector 224">
            <a:extLst>
              <a:ext uri="{FF2B5EF4-FFF2-40B4-BE49-F238E27FC236}">
                <a16:creationId xmlns:a16="http://schemas.microsoft.com/office/drawing/2014/main" id="{7C69B619-3B5E-5D40-9A7C-37E74FBC4D74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4773613" y="4017963"/>
            <a:ext cx="0" cy="89376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</p:cxnSp>
      <p:cxnSp>
        <p:nvCxnSpPr>
          <p:cNvPr id="18" name="Straight Connector 225">
            <a:extLst>
              <a:ext uri="{FF2B5EF4-FFF2-40B4-BE49-F238E27FC236}">
                <a16:creationId xmlns:a16="http://schemas.microsoft.com/office/drawing/2014/main" id="{1CFD538D-2DF2-E3FB-BFD5-E450CEFCE279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5529263" y="4344987"/>
            <a:ext cx="0" cy="268288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sm" len="sm"/>
            <a:tailEnd type="triangle" w="med" len="med"/>
          </a:ln>
          <a:effectLst/>
        </p:spPr>
      </p:cxnSp>
      <p:cxnSp>
        <p:nvCxnSpPr>
          <p:cNvPr id="19" name="Straight Connector 226">
            <a:extLst>
              <a:ext uri="{FF2B5EF4-FFF2-40B4-BE49-F238E27FC236}">
                <a16:creationId xmlns:a16="http://schemas.microsoft.com/office/drawing/2014/main" id="{69675FE0-7039-4BE3-8605-FAB12559FB60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5259388" y="4344988"/>
            <a:ext cx="269875" cy="0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20" name="Straight Connector 227">
            <a:extLst>
              <a:ext uri="{FF2B5EF4-FFF2-40B4-BE49-F238E27FC236}">
                <a16:creationId xmlns:a16="http://schemas.microsoft.com/office/drawing/2014/main" id="{8F8075EC-5D8C-FC45-8270-E9AF5B393EE2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 flipV="1">
            <a:off x="5259388" y="4344989"/>
            <a:ext cx="0" cy="16351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21" name="Straight Connector 228">
            <a:extLst>
              <a:ext uri="{FF2B5EF4-FFF2-40B4-BE49-F238E27FC236}">
                <a16:creationId xmlns:a16="http://schemas.microsoft.com/office/drawing/2014/main" id="{BF79157A-9B24-E618-9827-DE1C1A470041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6013450" y="4449763"/>
            <a:ext cx="269875" cy="0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22" name="Straight Connector 229">
            <a:extLst>
              <a:ext uri="{FF2B5EF4-FFF2-40B4-BE49-F238E27FC236}">
                <a16:creationId xmlns:a16="http://schemas.microsoft.com/office/drawing/2014/main" id="{44934B5A-BF81-87B6-4E2D-CFD00ABF8DB3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6283325" y="4449763"/>
            <a:ext cx="0" cy="460375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</p:cxnSp>
      <p:cxnSp>
        <p:nvCxnSpPr>
          <p:cNvPr id="23" name="Straight Connector 230">
            <a:extLst>
              <a:ext uri="{FF2B5EF4-FFF2-40B4-BE49-F238E27FC236}">
                <a16:creationId xmlns:a16="http://schemas.microsoft.com/office/drawing/2014/main" id="{2D11557D-039C-8C0A-64B1-C9668EDBE93E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 flipV="1">
            <a:off x="6013450" y="4449763"/>
            <a:ext cx="0" cy="16351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24" name="Straight Connector 231">
            <a:extLst>
              <a:ext uri="{FF2B5EF4-FFF2-40B4-BE49-F238E27FC236}">
                <a16:creationId xmlns:a16="http://schemas.microsoft.com/office/drawing/2014/main" id="{933E57CA-BA9B-6BEC-687B-4366916083A5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6767513" y="4406900"/>
            <a:ext cx="269875" cy="0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25" name="Straight Connector 232">
            <a:extLst>
              <a:ext uri="{FF2B5EF4-FFF2-40B4-BE49-F238E27FC236}">
                <a16:creationId xmlns:a16="http://schemas.microsoft.com/office/drawing/2014/main" id="{B34F8CF2-8161-C842-FC42-9FCE0AFF2893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7037388" y="4406900"/>
            <a:ext cx="0" cy="44926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sm" len="sm"/>
            <a:tailEnd type="triangle" w="med" len="med"/>
          </a:ln>
          <a:effectLst/>
        </p:spPr>
      </p:cxnSp>
      <p:cxnSp>
        <p:nvCxnSpPr>
          <p:cNvPr id="26" name="Straight Connector 233">
            <a:extLst>
              <a:ext uri="{FF2B5EF4-FFF2-40B4-BE49-F238E27FC236}">
                <a16:creationId xmlns:a16="http://schemas.microsoft.com/office/drawing/2014/main" id="{CCB27B8C-6EC4-DCDC-1735-4EEA26073FA1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 flipV="1">
            <a:off x="6767513" y="4406900"/>
            <a:ext cx="0" cy="16351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27" name="Straight Connector 234">
            <a:extLst>
              <a:ext uri="{FF2B5EF4-FFF2-40B4-BE49-F238E27FC236}">
                <a16:creationId xmlns:a16="http://schemas.microsoft.com/office/drawing/2014/main" id="{D204EF3E-84C8-E29A-E724-C50A64DC4B9C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7791450" y="4357688"/>
            <a:ext cx="0" cy="406400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</p:cxnSp>
      <p:cxnSp>
        <p:nvCxnSpPr>
          <p:cNvPr id="28" name="Straight Connector 235">
            <a:extLst>
              <a:ext uri="{FF2B5EF4-FFF2-40B4-BE49-F238E27FC236}">
                <a16:creationId xmlns:a16="http://schemas.microsoft.com/office/drawing/2014/main" id="{6387103D-E257-C37E-FCF5-27CBA82B9A0C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 flipV="1">
            <a:off x="7521575" y="4357688"/>
            <a:ext cx="0" cy="16351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29" name="Straight Connector 236">
            <a:extLst>
              <a:ext uri="{FF2B5EF4-FFF2-40B4-BE49-F238E27FC236}">
                <a16:creationId xmlns:a16="http://schemas.microsoft.com/office/drawing/2014/main" id="{BD972D62-233C-E499-3659-F363F14175BE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7521575" y="4357688"/>
            <a:ext cx="269875" cy="0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30" name="Straight Connector 237">
            <a:extLst>
              <a:ext uri="{FF2B5EF4-FFF2-40B4-BE49-F238E27FC236}">
                <a16:creationId xmlns:a16="http://schemas.microsoft.com/office/drawing/2014/main" id="{91B6B14A-BE7D-320D-4523-0AB36860FF80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 flipV="1">
            <a:off x="8277225" y="4244975"/>
            <a:ext cx="0" cy="16351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31" name="Straight Connector 238">
            <a:extLst>
              <a:ext uri="{FF2B5EF4-FFF2-40B4-BE49-F238E27FC236}">
                <a16:creationId xmlns:a16="http://schemas.microsoft.com/office/drawing/2014/main" id="{CC6B9465-F7D1-A256-6A38-4B76AB78EF85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8277225" y="4244975"/>
            <a:ext cx="269875" cy="0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32" name="Straight Connector 239">
            <a:extLst>
              <a:ext uri="{FF2B5EF4-FFF2-40B4-BE49-F238E27FC236}">
                <a16:creationId xmlns:a16="http://schemas.microsoft.com/office/drawing/2014/main" id="{BF8F2A76-962B-3394-3CF4-7D07812105ED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8547100" y="4244975"/>
            <a:ext cx="0" cy="374650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sm" len="sm"/>
            <a:tailEnd type="triangle" w="med" len="med"/>
          </a:ln>
          <a:effectLst/>
        </p:spPr>
      </p:cxnSp>
      <p:cxnSp>
        <p:nvCxnSpPr>
          <p:cNvPr id="33" name="Straight Connector 240">
            <a:extLst>
              <a:ext uri="{FF2B5EF4-FFF2-40B4-BE49-F238E27FC236}">
                <a16:creationId xmlns:a16="http://schemas.microsoft.com/office/drawing/2014/main" id="{11405355-663D-A817-7D09-726B204977B6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 flipV="1">
            <a:off x="11295063" y="3289300"/>
            <a:ext cx="0" cy="16351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4" name="Straight Connector 241">
            <a:extLst>
              <a:ext uri="{FF2B5EF4-FFF2-40B4-BE49-F238E27FC236}">
                <a16:creationId xmlns:a16="http://schemas.microsoft.com/office/drawing/2014/main" id="{594BC1BA-64BD-C266-89E2-18845186F5AB}"/>
              </a:ext>
            </a:extLst>
          </p:cNvPr>
          <p:cNvCxnSpPr>
            <a:cxnSpLocks/>
          </p:cNvCxnSpPr>
          <p:nvPr>
            <p:custDataLst>
              <p:tags r:id="rId24"/>
            </p:custDataLst>
          </p:nvPr>
        </p:nvCxnSpPr>
        <p:spPr bwMode="auto">
          <a:xfrm>
            <a:off x="11295063" y="3289300"/>
            <a:ext cx="269875" cy="0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5" name="Straight Connector 242">
            <a:extLst>
              <a:ext uri="{FF2B5EF4-FFF2-40B4-BE49-F238E27FC236}">
                <a16:creationId xmlns:a16="http://schemas.microsoft.com/office/drawing/2014/main" id="{696D81C9-BF8F-E808-125E-D83FA02A76DE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11564938" y="3289300"/>
            <a:ext cx="0" cy="587375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95AB410E-34BF-6799-BEF7-DEA2226D4159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671638" y="1800225"/>
            <a:ext cx="6540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800" dirty="0">
                <a:solidFill>
                  <a:srgbClr val="00004B"/>
                </a:solidFill>
                <a:latin typeface="Arial"/>
              </a:rPr>
              <a:t>Центов/бушель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24042F7B-20B8-8EAF-E971-C4793541EE4B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2212975" y="5153025"/>
            <a:ext cx="3238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775A3CA-FE12-4F05-B37E-388D7BC2E622}" type="datetime'Z''''''''''''''''''''''''''''C''''''''''Z''''''1''''''1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ZCZ11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35DD1362-0BB0-ADEC-4849-273D7178D305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2968625" y="5153025"/>
            <a:ext cx="3238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AE33F59-403B-4CA3-BC3E-7A813D6B1226}" type="datetime'''''''''Z''C''''Z1''''''''''''''''2''''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ZCZ12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C6BF9366-AF17-A7AB-A4BF-94E4A784667B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3722688" y="5153025"/>
            <a:ext cx="3238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B8C2F3B-34EF-4E8F-8DE5-0250AE1F0B77}" type="datetime'''Z''''CZ''''''''1''''3''''''''''''''''''''''''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ZCZ13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E533CFE6-3B77-B149-B304-D8F895E0FBE0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4476750" y="5153025"/>
            <a:ext cx="3238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33E82C1-17F2-444B-80BC-9FAB3766D71B}" type="datetime'Z''''''''''''''''''''''''''''C''''''''Z''''''1''''4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ZCZ14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CECAEBAE-F1BE-C12B-E432-24C2B4F678BC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5986463" y="5153025"/>
            <a:ext cx="3238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D6A5930-AE4F-4EE6-9A00-541C811C2C0E}" type="datetime'''Z''''''''''''''''''''C''''''''Z1''''''6''''''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ZCZ16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DBF80FEC-168C-BC4E-778D-D99793E34179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6740525" y="5153025"/>
            <a:ext cx="3238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398F71D-359D-41DA-8FE1-BD4A2A3CF908}" type="datetime'''''''''''Z''''''''C''''''Z''''''''1''''7''''''''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ZCZ17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9BCE665A-44AA-A94D-E28D-0EF68EE6DB92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11268075" y="5153025"/>
            <a:ext cx="3238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A22A755-3324-4DB6-B064-0F28FAAF620B}" type="datetime'''''''''''''''''''''ZCZ''''2''''''''''''''3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ZCZ23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357F5B3D-5537-2FF5-D73C-60C38A6FA586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10514013" y="5153025"/>
            <a:ext cx="3238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70F0401-0F12-4B43-BB0F-35D5702E0C31}" type="datetime'''''''''Z''C''''''''''''''''Z''''''''''''''''2''''''2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ZCZ22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9D73D75E-69EB-167D-882B-B61491D1B119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9758363" y="5153025"/>
            <a:ext cx="3238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BEC2294-7E99-4764-BA2E-F89FDC3F7615}" type="datetime'''''''''''''''''''''''''''Z''''C''Z''''''''''''''21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ZCZ21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D79316C0-5F19-AAE6-3532-DE74E6A0AA6E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9004300" y="5153025"/>
            <a:ext cx="3238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03F8102-A22A-4F41-B556-B4AD42EF74EF}" type="datetime'''Z''''CZ''''''''''''2''0''''''''''''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ZCZ20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D91B7734-01D3-C9E3-5E79-129844FC3D3F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8250238" y="5153025"/>
            <a:ext cx="3238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F49C072-141C-4304-8D0F-C63B6DB6CF90}" type="datetime'''''''''Z''''''''C''''''''''Z''''''''''''''1''''''''9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ZCZ19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AE5FF234-4652-DFFC-4FA9-C06CE39E69BC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7494588" y="5153025"/>
            <a:ext cx="3238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BAF3A4A-78A2-465C-8643-8A38983F9A19}" type="datetime'''''Z''''''''''''C''''''''''''''''''''''''''''Z''''''18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ZCZ18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77864790-521A-26DF-801E-84AE9DF272B0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5232400" y="5153025"/>
            <a:ext cx="3238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AB91AB9-D1EC-4E9F-B168-5D70CC7D4798}" type="datetime'''Z''''''C''''''''Z1''''''''''''''''''''''''''''''''''5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ZCZ15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5CE9D033-61C5-FB72-E5EC-DA60F2631007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3656013" y="3281363"/>
            <a:ext cx="458788" cy="173038"/>
          </a:xfrm>
          <a:prstGeom prst="ellipse">
            <a:avLst/>
          </a:prstGeom>
          <a:solidFill>
            <a:srgbClr val="010A19"/>
          </a:solidFill>
          <a:ln w="9525" algn="ctr">
            <a:solidFill>
              <a:srgbClr val="00004B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C731AD2-A163-46D7-883E-A2EBF1725ABE}" type="datetime'''''''''''''''''-''''1''''''''''6,''''''''''3''''''%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73DC7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-16,3%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73DC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4AC6736E-027F-2E8F-4563-D1F124D4FAEA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4410075" y="3932238"/>
            <a:ext cx="458788" cy="173038"/>
          </a:xfrm>
          <a:prstGeom prst="ellipse">
            <a:avLst/>
          </a:prstGeom>
          <a:solidFill>
            <a:srgbClr val="010A19"/>
          </a:solidFill>
          <a:ln w="9525" algn="ctr">
            <a:solidFill>
              <a:srgbClr val="00004B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EF114BF-3726-4A6F-87D6-DE6E54C9AD57}" type="datetime'-2''''''''''''''''''''''''''''''2'''',6''''''''''''%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73DC7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-22,6%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73DC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2" name="Oval 259">
            <a:extLst>
              <a:ext uri="{FF2B5EF4-FFF2-40B4-BE49-F238E27FC236}">
                <a16:creationId xmlns:a16="http://schemas.microsoft.com/office/drawing/2014/main" id="{A686D527-A4A2-CEB0-403D-82AC879F0E94}"/>
              </a:ext>
            </a:extLst>
          </p:cNvPr>
          <p:cNvSpPr>
            <a:spLocks noGrp="1" noChangeArrowheads="1"/>
          </p:cNvSpPr>
          <p:nvPr>
            <p:custDataLst>
              <p:tags r:id="rId42"/>
            </p:custDataLst>
          </p:nvPr>
        </p:nvSpPr>
        <p:spPr bwMode="auto">
          <a:xfrm>
            <a:off x="5205413" y="4259263"/>
            <a:ext cx="377825" cy="173038"/>
          </a:xfrm>
          <a:prstGeom prst="ellipse">
            <a:avLst/>
          </a:prstGeom>
          <a:solidFill>
            <a:srgbClr val="010A19"/>
          </a:solidFill>
          <a:ln w="9525" algn="ctr">
            <a:solidFill>
              <a:srgbClr val="00004B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85750" indent="-285750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●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76275" indent="-276225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2pPr>
            <a:lvl3pPr marL="1144588" indent="-287338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1619250" indent="-295275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4pPr>
            <a:lvl5pPr marL="2093913" indent="-295275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Char char="•"/>
              <a:defRPr sz="1800">
                <a:solidFill>
                  <a:schemeClr val="tx1"/>
                </a:solidFill>
                <a:latin typeface="+mn-lt"/>
              </a:defRPr>
            </a:lvl5pPr>
            <a:lvl6pPr marL="25511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30083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34655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9227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7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3DC78"/>
              </a:buClr>
              <a:buSzTx/>
              <a:buFont typeface="Arial" charset="0"/>
              <a:buNone/>
              <a:tabLst/>
              <a:defRPr/>
            </a:pPr>
            <a:fld id="{9C53DD2E-9696-4773-AF69-E66020B2AB8F}" type="datetime'''''-''''''''''''''3'''''',6%'''''''''''''">
              <a:rPr kumimoji="0" lang="en-US" altLang="en-US" sz="800" b="1" i="0" u="none" strike="noStrike" kern="0" cap="none" spc="0" normalizeH="0" baseline="0" noProof="0" smtClean="0">
                <a:ln>
                  <a:noFill/>
                </a:ln>
                <a:solidFill>
                  <a:srgbClr val="73DC7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572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DC78"/>
                </a:buClr>
                <a:buSzTx/>
                <a:buFont typeface="Arial" charset="0"/>
                <a:buNone/>
                <a:tabLst/>
                <a:defRPr/>
              </a:pPr>
              <a:t>-3,6%</a:t>
            </a:fld>
            <a:endParaRPr kumimoji="0" lang="en-US" altLang="en-US" sz="800" b="1" i="0" u="none" strike="noStrike" kern="0" cap="none" spc="0" normalizeH="0" baseline="0" noProof="0">
              <a:ln>
                <a:noFill/>
              </a:ln>
              <a:solidFill>
                <a:srgbClr val="73DC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20C17FE4-1B4E-D64E-2B51-07487DD96907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5919788" y="4364038"/>
            <a:ext cx="458788" cy="173038"/>
          </a:xfrm>
          <a:prstGeom prst="ellipse">
            <a:avLst/>
          </a:prstGeom>
          <a:solidFill>
            <a:srgbClr val="010A19"/>
          </a:solidFill>
          <a:ln w="9525" algn="ctr">
            <a:solidFill>
              <a:srgbClr val="00004B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048D2F6-C02B-4CE4-A751-5D8428C9EDA1}" type="datetime'''''''-''''''''''''''10'''''''''''''''''''',''''''6''''''%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73DC7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-10,6%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73DC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" name="Oval 261">
            <a:extLst>
              <a:ext uri="{FF2B5EF4-FFF2-40B4-BE49-F238E27FC236}">
                <a16:creationId xmlns:a16="http://schemas.microsoft.com/office/drawing/2014/main" id="{A3E72565-CF41-C79E-500B-DDD412FAA3C3}"/>
              </a:ext>
            </a:extLst>
          </p:cNvPr>
          <p:cNvSpPr>
            <a:spLocks noGrp="1" noChangeArrowheads="1"/>
          </p:cNvSpPr>
          <p:nvPr>
            <p:custDataLst>
              <p:tags r:id="rId44"/>
            </p:custDataLst>
          </p:nvPr>
        </p:nvSpPr>
        <p:spPr bwMode="auto">
          <a:xfrm>
            <a:off x="6673850" y="4321175"/>
            <a:ext cx="458788" cy="173038"/>
          </a:xfrm>
          <a:prstGeom prst="ellipse">
            <a:avLst/>
          </a:prstGeom>
          <a:solidFill>
            <a:srgbClr val="010A19"/>
          </a:solidFill>
          <a:ln w="9525" algn="ctr">
            <a:solidFill>
              <a:srgbClr val="00004B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85750" indent="-285750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●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76275" indent="-276225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2pPr>
            <a:lvl3pPr marL="1144588" indent="-287338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1619250" indent="-295275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4pPr>
            <a:lvl5pPr marL="2093913" indent="-295275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Char char="•"/>
              <a:defRPr sz="1800">
                <a:solidFill>
                  <a:schemeClr val="tx1"/>
                </a:solidFill>
                <a:latin typeface="+mn-lt"/>
              </a:defRPr>
            </a:lvl5pPr>
            <a:lvl6pPr marL="25511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30083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34655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9227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7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3DC78"/>
              </a:buClr>
              <a:buSzTx/>
              <a:buFont typeface="Arial" charset="0"/>
              <a:buNone/>
              <a:tabLst/>
              <a:defRPr/>
            </a:pPr>
            <a:fld id="{C8C0E98A-4FD7-44C5-835F-C9DD504FEFD4}" type="datetime'''-''''''1''''''''''''''''''''''0'''''''''',''0%'''">
              <a:rPr kumimoji="0" lang="en-US" altLang="en-US" sz="800" b="1" i="0" u="none" strike="noStrike" kern="0" cap="none" spc="0" normalizeH="0" baseline="0" noProof="0" smtClean="0">
                <a:ln>
                  <a:noFill/>
                </a:ln>
                <a:solidFill>
                  <a:srgbClr val="73DC7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572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DC78"/>
                </a:buClr>
                <a:buSzTx/>
                <a:buFont typeface="Arial" charset="0"/>
                <a:buNone/>
                <a:tabLst/>
                <a:defRPr/>
              </a:pPr>
              <a:t>-10,0%</a:t>
            </a:fld>
            <a:endParaRPr kumimoji="0" lang="en-US" altLang="en-US" sz="800" b="1" i="0" u="none" strike="noStrike" kern="0" cap="none" spc="0" normalizeH="0" baseline="0" noProof="0">
              <a:ln>
                <a:noFill/>
              </a:ln>
              <a:solidFill>
                <a:srgbClr val="73DC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F12E8488-DF42-CB7D-EFA2-B35CDCB1950A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7467600" y="4271963"/>
            <a:ext cx="377825" cy="173038"/>
          </a:xfrm>
          <a:prstGeom prst="ellipse">
            <a:avLst/>
          </a:prstGeom>
          <a:solidFill>
            <a:srgbClr val="010A19"/>
          </a:solidFill>
          <a:ln w="9525" algn="ctr">
            <a:solidFill>
              <a:srgbClr val="00004B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51D903F-8B21-4967-99B3-5DD9250FAB3F}" type="datetime'-''''''8,''''4%''''''''''''''''''''''''''''''''''''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73DC7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-8,4%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73DC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6" name="Oval 263">
            <a:extLst>
              <a:ext uri="{FF2B5EF4-FFF2-40B4-BE49-F238E27FC236}">
                <a16:creationId xmlns:a16="http://schemas.microsoft.com/office/drawing/2014/main" id="{7EF2D933-9C09-7D43-4079-705C1DE548C8}"/>
              </a:ext>
            </a:extLst>
          </p:cNvPr>
          <p:cNvSpPr>
            <a:spLocks noGrp="1" noChangeArrowheads="1"/>
          </p:cNvSpPr>
          <p:nvPr>
            <p:custDataLst>
              <p:tags r:id="rId46"/>
            </p:custDataLst>
          </p:nvPr>
        </p:nvSpPr>
        <p:spPr bwMode="auto">
          <a:xfrm>
            <a:off x="8223251" y="4159250"/>
            <a:ext cx="377825" cy="173038"/>
          </a:xfrm>
          <a:prstGeom prst="ellipse">
            <a:avLst/>
          </a:prstGeom>
          <a:solidFill>
            <a:srgbClr val="010A19"/>
          </a:solidFill>
          <a:ln w="9525" algn="ctr">
            <a:solidFill>
              <a:srgbClr val="00004B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85750" indent="-285750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●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76275" indent="-276225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2pPr>
            <a:lvl3pPr marL="1144588" indent="-287338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1619250" indent="-295275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4pPr>
            <a:lvl5pPr marL="2093913" indent="-295275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Char char="•"/>
              <a:defRPr sz="1800">
                <a:solidFill>
                  <a:schemeClr val="tx1"/>
                </a:solidFill>
                <a:latin typeface="+mn-lt"/>
              </a:defRPr>
            </a:lvl5pPr>
            <a:lvl6pPr marL="25511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30083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34655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9227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7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3DC78"/>
              </a:buClr>
              <a:buSzTx/>
              <a:buFont typeface="Arial" charset="0"/>
              <a:buNone/>
              <a:tabLst/>
              <a:defRPr/>
            </a:pPr>
            <a:fld id="{9AFC0D63-06E7-4DE7-823F-E46C5CA2131E}" type="datetime'''''''''-''7'''',''0''''''''''%'''''''">
              <a:rPr kumimoji="0" lang="en-US" altLang="en-US" sz="800" b="1" i="0" u="none" strike="noStrike" kern="0" cap="none" spc="0" normalizeH="0" baseline="0" noProof="0" smtClean="0">
                <a:ln>
                  <a:noFill/>
                </a:ln>
                <a:solidFill>
                  <a:srgbClr val="73DC7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572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DC78"/>
                </a:buClr>
                <a:buSzTx/>
                <a:buFont typeface="Arial" charset="0"/>
                <a:buNone/>
                <a:tabLst/>
                <a:defRPr/>
              </a:pPr>
              <a:t>-7,0%</a:t>
            </a:fld>
            <a:endParaRPr kumimoji="0" lang="en-US" altLang="en-US" sz="800" b="1" i="0" u="none" strike="noStrike" kern="0" cap="none" spc="0" normalizeH="0" baseline="0" noProof="0">
              <a:ln>
                <a:noFill/>
              </a:ln>
              <a:solidFill>
                <a:srgbClr val="73DC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7" name="Google Shape;11;p28">
            <a:extLst>
              <a:ext uri="{FF2B5EF4-FFF2-40B4-BE49-F238E27FC236}">
                <a16:creationId xmlns:a16="http://schemas.microsoft.com/office/drawing/2014/main" id="{8D8E5FB3-C493-7814-9F81-84A1CA8796EB}"/>
              </a:ext>
            </a:extLst>
          </p:cNvPr>
          <p:cNvSpPr txBox="1"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11201399" y="3203575"/>
            <a:ext cx="458788" cy="173038"/>
          </a:xfrm>
          <a:prstGeom prst="ellipse">
            <a:avLst/>
          </a:prstGeom>
          <a:solidFill>
            <a:srgbClr val="010A19"/>
          </a:solidFill>
          <a:ln w="9525" algn="ctr">
            <a:solidFill>
              <a:srgbClr val="00004B"/>
            </a:solidFill>
          </a:ln>
          <a:effectLst/>
        </p:spPr>
        <p:txBody>
          <a:bodyPr spcFirstLastPara="1" vert="horz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123A8C8F-5F0B-476C-BE15-A85E94FBDBCC}" type="datetime'-''''10'''''''''',''''''7''''''''''''''%'''''''''">
              <a:rPr kumimoji="0" lang="en-US" altLang="en-US" sz="800" b="1" i="0" u="none" strike="noStrike" kern="0" cap="none" spc="0" normalizeH="0" baseline="0" noProof="0" smtClean="0">
                <a:ln>
                  <a:noFill/>
                </a:ln>
                <a:solidFill>
                  <a:srgbClr val="73DC78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-10,7%</a:t>
            </a:fld>
            <a:endParaRPr kumimoji="0" lang="en-US" sz="800" b="1" i="0" u="none" strike="noStrike" kern="0" cap="none" spc="0" normalizeH="0" baseline="0" noProof="0">
              <a:ln>
                <a:noFill/>
              </a:ln>
              <a:solidFill>
                <a:srgbClr val="73DC78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58" name="Rectangle 265">
            <a:extLst>
              <a:ext uri="{FF2B5EF4-FFF2-40B4-BE49-F238E27FC236}">
                <a16:creationId xmlns:a16="http://schemas.microsoft.com/office/drawing/2014/main" id="{125F94F4-6EF3-9187-B06D-19035517E867}"/>
              </a:ext>
            </a:extLst>
          </p:cNvPr>
          <p:cNvSpPr/>
          <p:nvPr/>
        </p:nvSpPr>
        <p:spPr bwMode="auto">
          <a:xfrm>
            <a:off x="3492500" y="1966607"/>
            <a:ext cx="5321300" cy="3161018"/>
          </a:xfrm>
          <a:prstGeom prst="rect">
            <a:avLst/>
          </a:prstGeom>
          <a:noFill/>
          <a:ln w="19050" cap="flat" cmpd="sng" algn="ctr">
            <a:solidFill>
              <a:srgbClr val="0087F1"/>
            </a:solidFill>
            <a:prstDash val="sysDot"/>
            <a:headEnd type="none" w="sm" len="sm"/>
            <a:tailEnd type="none" w="sm" len="sm"/>
          </a:ln>
          <a:effectLst/>
        </p:spPr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defTabSz="9572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F7800"/>
              </a:buClr>
              <a:buSzTx/>
              <a:buFont typeface="Arial" charset="0"/>
              <a:buChar char="●"/>
              <a:tabLst/>
              <a:defRPr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solidFill>
                <a:srgbClr val="62646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9" name="Group 266">
            <a:extLst>
              <a:ext uri="{FF2B5EF4-FFF2-40B4-BE49-F238E27FC236}">
                <a16:creationId xmlns:a16="http://schemas.microsoft.com/office/drawing/2014/main" id="{D1B50383-A2F9-7700-832F-0D0032A6797A}"/>
              </a:ext>
            </a:extLst>
          </p:cNvPr>
          <p:cNvGrpSpPr/>
          <p:nvPr/>
        </p:nvGrpSpPr>
        <p:grpSpPr>
          <a:xfrm>
            <a:off x="5919788" y="2032958"/>
            <a:ext cx="284163" cy="274638"/>
            <a:chOff x="4251860" y="1995798"/>
            <a:chExt cx="509964" cy="509964"/>
          </a:xfrm>
        </p:grpSpPr>
        <p:sp>
          <p:nvSpPr>
            <p:cNvPr id="60" name="Oval 267">
              <a:extLst>
                <a:ext uri="{FF2B5EF4-FFF2-40B4-BE49-F238E27FC236}">
                  <a16:creationId xmlns:a16="http://schemas.microsoft.com/office/drawing/2014/main" id="{A786F792-AFA5-5EB6-B142-5A40BD5F7DF1}"/>
                </a:ext>
              </a:extLst>
            </p:cNvPr>
            <p:cNvSpPr/>
            <p:nvPr/>
          </p:nvSpPr>
          <p:spPr>
            <a:xfrm>
              <a:off x="4251860" y="1995798"/>
              <a:ext cx="509964" cy="509964"/>
            </a:xfrm>
            <a:prstGeom prst="ellipse">
              <a:avLst/>
            </a:prstGeom>
            <a:solidFill>
              <a:srgbClr val="0087F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10A1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61" name="Graphic 268">
              <a:extLst>
                <a:ext uri="{FF2B5EF4-FFF2-40B4-BE49-F238E27FC236}">
                  <a16:creationId xmlns:a16="http://schemas.microsoft.com/office/drawing/2014/main" id="{F30235A0-7930-212D-374C-D01495726991}"/>
                </a:ext>
              </a:extLst>
            </p:cNvPr>
            <p:cNvPicPr>
              <a:picLocks noChangeAspect="1"/>
            </p:cNvPicPr>
            <p:nvPr/>
          </p:nvPicPr>
          <p:blipFill>
            <a:blip r:embed="rId5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0"/>
                </a:ext>
              </a:extLst>
            </a:blip>
            <a:stretch>
              <a:fillRect/>
            </a:stretch>
          </p:blipFill>
          <p:spPr>
            <a:xfrm>
              <a:off x="4388165" y="2121256"/>
              <a:ext cx="237353" cy="237353"/>
            </a:xfrm>
            <a:prstGeom prst="rect">
              <a:avLst/>
            </a:prstGeom>
          </p:spPr>
        </p:pic>
      </p:grpSp>
      <p:sp>
        <p:nvSpPr>
          <p:cNvPr id="62" name="Rectangle 269">
            <a:extLst>
              <a:ext uri="{FF2B5EF4-FFF2-40B4-BE49-F238E27FC236}">
                <a16:creationId xmlns:a16="http://schemas.microsoft.com/office/drawing/2014/main" id="{5D0F7CCD-B734-C67C-9AEA-8F8D4BC2684E}"/>
              </a:ext>
            </a:extLst>
          </p:cNvPr>
          <p:cNvSpPr/>
          <p:nvPr>
            <p:custDataLst>
              <p:tags r:id="rId48"/>
            </p:custDataLst>
          </p:nvPr>
        </p:nvSpPr>
        <p:spPr bwMode="auto">
          <a:xfrm>
            <a:off x="4586288" y="5391150"/>
            <a:ext cx="142875" cy="106363"/>
          </a:xfrm>
          <a:prstGeom prst="rect">
            <a:avLst/>
          </a:prstGeom>
          <a:solidFill>
            <a:srgbClr val="2000F5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3" name="Rectangle 270">
            <a:extLst>
              <a:ext uri="{FF2B5EF4-FFF2-40B4-BE49-F238E27FC236}">
                <a16:creationId xmlns:a16="http://schemas.microsoft.com/office/drawing/2014/main" id="{2D18FC78-9B8F-1B6B-3D06-DBD59CFFC131}"/>
              </a:ext>
            </a:extLst>
          </p:cNvPr>
          <p:cNvSpPr/>
          <p:nvPr>
            <p:custDataLst>
              <p:tags r:id="rId49"/>
            </p:custDataLst>
          </p:nvPr>
        </p:nvSpPr>
        <p:spPr bwMode="auto">
          <a:xfrm>
            <a:off x="7035800" y="5391150"/>
            <a:ext cx="142875" cy="106363"/>
          </a:xfrm>
          <a:prstGeom prst="rect">
            <a:avLst/>
          </a:prstGeom>
          <a:solidFill>
            <a:srgbClr val="8CEF8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333431F0-F3C9-3733-B208-C92A48CF4BF0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4779962" y="5386388"/>
            <a:ext cx="2154238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230896F-CC1C-4776-AAAE-C285FD9187AA}" type="datetime'CLASSIC Price Fixati''on Avera''ge'' 19''.0''2 ''''- 09.08'' 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CLASSIC Price Fixation Average 19.02 - 09.08 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B7592DEA-4316-6886-8BC6-8D1220F073FA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7229475" y="5386388"/>
            <a:ext cx="158432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BF2BFC7-7012-4EE2-9420-B1CB60DF2771}" type="datetime'S''''e''ttlem''ent  Av''era''ge'' 11.09 –'' ''31''''''.10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Settlement  Average 11.09 – 31.10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6" name="Rectangle 273">
            <a:extLst>
              <a:ext uri="{FF2B5EF4-FFF2-40B4-BE49-F238E27FC236}">
                <a16:creationId xmlns:a16="http://schemas.microsoft.com/office/drawing/2014/main" id="{B0D2A067-A1C1-12BB-0A0C-FD79B3C6433D}"/>
              </a:ext>
            </a:extLst>
          </p:cNvPr>
          <p:cNvSpPr/>
          <p:nvPr/>
        </p:nvSpPr>
        <p:spPr bwMode="auto">
          <a:xfrm>
            <a:off x="11085513" y="1966607"/>
            <a:ext cx="744538" cy="3161018"/>
          </a:xfrm>
          <a:prstGeom prst="rect">
            <a:avLst/>
          </a:prstGeom>
          <a:noFill/>
          <a:ln w="19050" cap="flat" cmpd="sng" algn="ctr">
            <a:solidFill>
              <a:srgbClr val="0087F1"/>
            </a:solidFill>
            <a:prstDash val="sysDot"/>
            <a:headEnd type="none" w="sm" len="sm"/>
            <a:tailEnd type="none" w="sm" len="sm"/>
          </a:ln>
          <a:effectLst/>
        </p:spPr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defTabSz="9572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F7800"/>
              </a:buClr>
              <a:buSzTx/>
              <a:buFont typeface="Arial" charset="0"/>
              <a:buChar char="●"/>
              <a:tabLst/>
              <a:defRPr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solidFill>
                <a:srgbClr val="62646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67" name="Group 274">
            <a:extLst>
              <a:ext uri="{FF2B5EF4-FFF2-40B4-BE49-F238E27FC236}">
                <a16:creationId xmlns:a16="http://schemas.microsoft.com/office/drawing/2014/main" id="{25C3AD91-E068-4B28-5396-7A535AD6D148}"/>
              </a:ext>
            </a:extLst>
          </p:cNvPr>
          <p:cNvGrpSpPr/>
          <p:nvPr/>
        </p:nvGrpSpPr>
        <p:grpSpPr>
          <a:xfrm>
            <a:off x="11315701" y="2032958"/>
            <a:ext cx="284163" cy="274638"/>
            <a:chOff x="4251860" y="1995798"/>
            <a:chExt cx="509964" cy="509964"/>
          </a:xfrm>
        </p:grpSpPr>
        <p:sp>
          <p:nvSpPr>
            <p:cNvPr id="68" name="Oval 275">
              <a:extLst>
                <a:ext uri="{FF2B5EF4-FFF2-40B4-BE49-F238E27FC236}">
                  <a16:creationId xmlns:a16="http://schemas.microsoft.com/office/drawing/2014/main" id="{9EEDAD31-F5E5-DB63-325D-12D8075AE51A}"/>
                </a:ext>
              </a:extLst>
            </p:cNvPr>
            <p:cNvSpPr/>
            <p:nvPr/>
          </p:nvSpPr>
          <p:spPr>
            <a:xfrm>
              <a:off x="4251860" y="1995798"/>
              <a:ext cx="509964" cy="509964"/>
            </a:xfrm>
            <a:prstGeom prst="ellipse">
              <a:avLst/>
            </a:prstGeom>
            <a:solidFill>
              <a:srgbClr val="0087F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10A1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69" name="Graphic 276">
              <a:extLst>
                <a:ext uri="{FF2B5EF4-FFF2-40B4-BE49-F238E27FC236}">
                  <a16:creationId xmlns:a16="http://schemas.microsoft.com/office/drawing/2014/main" id="{616C505D-A592-9A57-1810-017A340DC3A6}"/>
                </a:ext>
              </a:extLst>
            </p:cNvPr>
            <p:cNvPicPr>
              <a:picLocks noChangeAspect="1"/>
            </p:cNvPicPr>
            <p:nvPr/>
          </p:nvPicPr>
          <p:blipFill>
            <a:blip r:embed="rId5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0"/>
                </a:ext>
              </a:extLst>
            </a:blip>
            <a:stretch>
              <a:fillRect/>
            </a:stretch>
          </p:blipFill>
          <p:spPr>
            <a:xfrm>
              <a:off x="4388165" y="2121256"/>
              <a:ext cx="237353" cy="237353"/>
            </a:xfrm>
            <a:prstGeom prst="rect">
              <a:avLst/>
            </a:prstGeom>
          </p:spPr>
        </p:pic>
      </p:grpSp>
      <p:sp>
        <p:nvSpPr>
          <p:cNvPr id="70" name="Arrow: Chevron 171">
            <a:extLst>
              <a:ext uri="{FF2B5EF4-FFF2-40B4-BE49-F238E27FC236}">
                <a16:creationId xmlns:a16="http://schemas.microsoft.com/office/drawing/2014/main" id="{2A78EF74-A670-FC6D-73F1-1A90ACC432C1}"/>
              </a:ext>
            </a:extLst>
          </p:cNvPr>
          <p:cNvSpPr/>
          <p:nvPr/>
        </p:nvSpPr>
        <p:spPr>
          <a:xfrm>
            <a:off x="200025" y="1550988"/>
            <a:ext cx="1331913" cy="4022725"/>
          </a:xfrm>
          <a:prstGeom prst="chevron">
            <a:avLst>
              <a:gd name="adj" fmla="val 0"/>
            </a:avLst>
          </a:prstGeom>
          <a:solidFill>
            <a:srgbClr val="ABB6BA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ЗоРРО Классический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50" b="1" kern="0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Декабрьский фьючерс</a:t>
            </a: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20839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CB04114-61FC-9CBC-C60D-8A1A76163A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329063"/>
            <a:ext cx="9915281" cy="649792"/>
          </a:xfrm>
        </p:spPr>
        <p:txBody>
          <a:bodyPr/>
          <a:lstStyle/>
          <a:p>
            <a:pPr lvl="0">
              <a:spcBef>
                <a:spcPts val="0"/>
              </a:spcBef>
              <a:buClr>
                <a:srgbClr val="000000"/>
              </a:buClr>
              <a:defRPr/>
            </a:pPr>
            <a:r>
              <a:rPr lang="ru-RU" sz="1800" b="1" kern="0" dirty="0">
                <a:latin typeface="+mj-lt"/>
              </a:rPr>
              <a:t>Статистика индексов пшеница</a:t>
            </a:r>
            <a:r>
              <a:rPr lang="en-US" sz="1800" b="1" kern="0" dirty="0">
                <a:latin typeface="+mj-lt"/>
              </a:rPr>
              <a:t>: </a:t>
            </a:r>
            <a:r>
              <a:rPr lang="ru-RU" sz="1800" b="1" kern="0" dirty="0">
                <a:latin typeface="+mj-lt"/>
              </a:rPr>
              <a:t>54</a:t>
            </a:r>
            <a:r>
              <a:rPr lang="en-US" sz="1800" b="1" kern="0" dirty="0">
                <a:latin typeface="+mj-lt"/>
              </a:rPr>
              <a:t>% </a:t>
            </a:r>
            <a:r>
              <a:rPr lang="ru-RU" sz="1800" b="1" kern="0" dirty="0">
                <a:latin typeface="+mj-lt"/>
              </a:rPr>
              <a:t>и</a:t>
            </a:r>
            <a:r>
              <a:rPr lang="en-US" sz="1800" b="1" kern="0" dirty="0">
                <a:latin typeface="+mj-lt"/>
              </a:rPr>
              <a:t> </a:t>
            </a:r>
            <a:r>
              <a:rPr lang="ru-RU" sz="1800" b="1" kern="0" dirty="0">
                <a:latin typeface="+mj-lt"/>
              </a:rPr>
              <a:t>69</a:t>
            </a:r>
            <a:r>
              <a:rPr lang="en-US" sz="1800" b="1" kern="0" dirty="0">
                <a:latin typeface="+mj-lt"/>
              </a:rPr>
              <a:t>% </a:t>
            </a:r>
            <a:r>
              <a:rPr lang="ru-RU" sz="1800" b="1" kern="0" dirty="0">
                <a:latin typeface="+mj-lt"/>
              </a:rPr>
              <a:t>вероятность получения выплаты по вариантам Весна и Осень</a:t>
            </a:r>
            <a:r>
              <a:rPr lang="en-US" sz="1800" kern="0" dirty="0">
                <a:solidFill>
                  <a:srgbClr val="2000F5"/>
                </a:solidFill>
                <a:cs typeface="Arial"/>
                <a:sym typeface="Arial"/>
              </a:rPr>
              <a:t> </a:t>
            </a:r>
            <a:br>
              <a:rPr lang="en-US" sz="1400" kern="0" dirty="0">
                <a:solidFill>
                  <a:srgbClr val="2000F5"/>
                </a:solidFill>
                <a:cs typeface="Arial"/>
                <a:sym typeface="Arial"/>
              </a:rPr>
            </a:br>
            <a:r>
              <a:rPr lang="en-US" sz="1100" i="1" kern="0" dirty="0">
                <a:cs typeface="Arial"/>
                <a:sym typeface="Arial"/>
              </a:rPr>
              <a:t>(2011 - 2023 </a:t>
            </a:r>
            <a:r>
              <a:rPr lang="ru-RU" sz="1100" i="1" kern="0" dirty="0">
                <a:cs typeface="Arial"/>
                <a:sym typeface="Arial"/>
              </a:rPr>
              <a:t>годы</a:t>
            </a:r>
            <a:r>
              <a:rPr lang="en-US" sz="1100" i="1" kern="0" dirty="0">
                <a:cs typeface="Arial"/>
                <a:sym typeface="Arial"/>
              </a:rPr>
              <a:t>)</a:t>
            </a:r>
            <a:br>
              <a:rPr lang="en-US" sz="1100" i="1" kern="0" dirty="0">
                <a:solidFill>
                  <a:srgbClr val="2000F5"/>
                </a:solidFill>
                <a:cs typeface="Arial"/>
                <a:sym typeface="Arial"/>
              </a:rPr>
            </a:br>
            <a:endParaRPr lang="en-US" sz="1400" b="1" i="1" kern="0" dirty="0">
              <a:latin typeface="+mj-lt"/>
            </a:endParaRP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F0B22062-3D45-3AF0-19AD-1F656449B2A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GB" dirty="0"/>
              <a:t>CLASSIFICATION: </a:t>
            </a:r>
            <a:r>
              <a:rPr lang="en-US" dirty="0"/>
              <a:t>Public</a:t>
            </a:r>
            <a:endParaRPr lang="en-GB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C6891FF4-CED8-6B62-3B95-49BC357A2E7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9C47F3-E74D-462A-9E9A-E7164C68AF73}" type="slidenum">
              <a:rPr lang="en-GB" smtClean="0"/>
              <a:pPr/>
              <a:t>11</a:t>
            </a:fld>
            <a:endParaRPr lang="en-GB"/>
          </a:p>
        </p:txBody>
      </p:sp>
      <p:pic>
        <p:nvPicPr>
          <p:cNvPr id="17" name="Picture 2" descr="A green and black logo&#10;&#10;Description automatically generated">
            <a:extLst>
              <a:ext uri="{FF2B5EF4-FFF2-40B4-BE49-F238E27FC236}">
                <a16:creationId xmlns:a16="http://schemas.microsoft.com/office/drawing/2014/main" id="{154FB624-8989-56B1-EE89-0EDD40C44CEF}"/>
              </a:ext>
            </a:extLst>
          </p:cNvPr>
          <p:cNvPicPr>
            <a:picLocks noChangeAspect="1"/>
          </p:cNvPicPr>
          <p:nvPr/>
        </p:nvPicPr>
        <p:blipFill>
          <a:blip r:embed="rId10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0957" y="0"/>
            <a:ext cx="1881043" cy="792796"/>
          </a:xfrm>
          <a:prstGeom prst="rect">
            <a:avLst/>
          </a:prstGeom>
        </p:spPr>
      </p:pic>
      <p:sp>
        <p:nvSpPr>
          <p:cNvPr id="152" name="Rectangle 144">
            <a:extLst>
              <a:ext uri="{FF2B5EF4-FFF2-40B4-BE49-F238E27FC236}">
                <a16:creationId xmlns:a16="http://schemas.microsoft.com/office/drawing/2014/main" id="{4B1FC860-164F-45DA-FB05-D8C7BE464047}"/>
              </a:ext>
            </a:extLst>
          </p:cNvPr>
          <p:cNvSpPr/>
          <p:nvPr/>
        </p:nvSpPr>
        <p:spPr>
          <a:xfrm>
            <a:off x="1483874" y="1322388"/>
            <a:ext cx="10448680" cy="2251075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10A1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153" name="Chart 129">
            <a:extLst>
              <a:ext uri="{FF2B5EF4-FFF2-40B4-BE49-F238E27FC236}">
                <a16:creationId xmlns:a16="http://schemas.microsoft.com/office/drawing/2014/main" id="{CE4F26BB-4274-2F6D-9433-39F37990C6A0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1589088" y="1438275"/>
          <a:ext cx="10253662" cy="1866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5"/>
          </a:graphicData>
        </a:graphic>
      </p:graphicFrame>
      <p:cxnSp>
        <p:nvCxnSpPr>
          <p:cNvPr id="154" name="Straight Connector 280">
            <a:extLst>
              <a:ext uri="{FF2B5EF4-FFF2-40B4-BE49-F238E27FC236}">
                <a16:creationId xmlns:a16="http://schemas.microsoft.com/office/drawing/2014/main" id="{4635E56C-814E-2DE0-55A5-0B8C78A92148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2192339" y="2141538"/>
            <a:ext cx="269875" cy="0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5" name="Straight Connector 279">
            <a:extLst>
              <a:ext uri="{FF2B5EF4-FFF2-40B4-BE49-F238E27FC236}">
                <a16:creationId xmlns:a16="http://schemas.microsoft.com/office/drawing/2014/main" id="{5273C718-84C1-D61A-8558-E616CC7CBD75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2192338" y="2141538"/>
            <a:ext cx="0" cy="174625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6" name="Straight Connector 281">
            <a:extLst>
              <a:ext uri="{FF2B5EF4-FFF2-40B4-BE49-F238E27FC236}">
                <a16:creationId xmlns:a16="http://schemas.microsoft.com/office/drawing/2014/main" id="{53EC58E4-A9EC-FA0E-D379-AF1B14CAAC06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2462213" y="2141538"/>
            <a:ext cx="0" cy="23971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57" name="Straight Connector 25">
            <a:extLst>
              <a:ext uri="{FF2B5EF4-FFF2-40B4-BE49-F238E27FC236}">
                <a16:creationId xmlns:a16="http://schemas.microsoft.com/office/drawing/2014/main" id="{37F3F416-FB8F-0FFE-FD12-9B2B1B6671B6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V="1">
            <a:off x="5211763" y="2468563"/>
            <a:ext cx="0" cy="234950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158" name="Straight Connector 24">
            <a:extLst>
              <a:ext uri="{FF2B5EF4-FFF2-40B4-BE49-F238E27FC236}">
                <a16:creationId xmlns:a16="http://schemas.microsoft.com/office/drawing/2014/main" id="{57E53B15-41E6-40AC-7608-192B67F9D801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5211764" y="2468563"/>
            <a:ext cx="269875" cy="0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159" name="Straight Connector 23">
            <a:extLst>
              <a:ext uri="{FF2B5EF4-FFF2-40B4-BE49-F238E27FC236}">
                <a16:creationId xmlns:a16="http://schemas.microsoft.com/office/drawing/2014/main" id="{8AE0DDE2-8F99-6F3D-E88E-E41C96A47D67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5481638" y="2468563"/>
            <a:ext cx="0" cy="23971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sm" len="sm"/>
            <a:tailEnd type="triangle" w="med" len="med"/>
          </a:ln>
          <a:effectLst/>
        </p:spPr>
      </p:cxnSp>
      <p:cxnSp>
        <p:nvCxnSpPr>
          <p:cNvPr id="160" name="Straight Connector 22">
            <a:extLst>
              <a:ext uri="{FF2B5EF4-FFF2-40B4-BE49-F238E27FC236}">
                <a16:creationId xmlns:a16="http://schemas.microsoft.com/office/drawing/2014/main" id="{47A7D74C-32CB-4610-1526-DCE7788B10DE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5965825" y="2671763"/>
            <a:ext cx="269875" cy="0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1" name="Straight Connector 26">
            <a:extLst>
              <a:ext uri="{FF2B5EF4-FFF2-40B4-BE49-F238E27FC236}">
                <a16:creationId xmlns:a16="http://schemas.microsoft.com/office/drawing/2014/main" id="{8A332BD4-3F2F-BD83-99AD-D5AE79632C98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6235700" y="2671763"/>
            <a:ext cx="0" cy="23971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62" name="Straight Connector 21">
            <a:extLst>
              <a:ext uri="{FF2B5EF4-FFF2-40B4-BE49-F238E27FC236}">
                <a16:creationId xmlns:a16="http://schemas.microsoft.com/office/drawing/2014/main" id="{18A41321-A138-1337-EDD4-5E3D20BDB6AB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 flipV="1">
            <a:off x="5965825" y="2671764"/>
            <a:ext cx="0" cy="20161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3" name="Straight Connector 31">
            <a:extLst>
              <a:ext uri="{FF2B5EF4-FFF2-40B4-BE49-F238E27FC236}">
                <a16:creationId xmlns:a16="http://schemas.microsoft.com/office/drawing/2014/main" id="{FD94FFFD-C5C6-426E-657E-8E7E89B3DE9B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 flipV="1">
            <a:off x="6719888" y="2601913"/>
            <a:ext cx="0" cy="19526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164" name="Straight Connector 30">
            <a:extLst>
              <a:ext uri="{FF2B5EF4-FFF2-40B4-BE49-F238E27FC236}">
                <a16:creationId xmlns:a16="http://schemas.microsoft.com/office/drawing/2014/main" id="{EA93380F-B825-55FB-3617-7C7832D26526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6719888" y="2601913"/>
            <a:ext cx="269875" cy="0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165" name="Straight Connector 29">
            <a:extLst>
              <a:ext uri="{FF2B5EF4-FFF2-40B4-BE49-F238E27FC236}">
                <a16:creationId xmlns:a16="http://schemas.microsoft.com/office/drawing/2014/main" id="{2F2C07FF-41C1-44DA-0D40-3CCCB55B911C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6989763" y="2601913"/>
            <a:ext cx="0" cy="23971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sm" len="sm"/>
            <a:tailEnd type="triangle" w="med" len="med"/>
          </a:ln>
          <a:effectLst/>
        </p:spPr>
      </p:cxnSp>
      <p:cxnSp>
        <p:nvCxnSpPr>
          <p:cNvPr id="166" name="Straight Connector 37">
            <a:extLst>
              <a:ext uri="{FF2B5EF4-FFF2-40B4-BE49-F238E27FC236}">
                <a16:creationId xmlns:a16="http://schemas.microsoft.com/office/drawing/2014/main" id="{9980A3E0-66EB-319A-5A04-0598AA7B63DE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 flipV="1">
            <a:off x="8229600" y="2474913"/>
            <a:ext cx="0" cy="180975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167" name="Straight Connector 36">
            <a:extLst>
              <a:ext uri="{FF2B5EF4-FFF2-40B4-BE49-F238E27FC236}">
                <a16:creationId xmlns:a16="http://schemas.microsoft.com/office/drawing/2014/main" id="{E5A780B2-7F33-2D46-1494-D1CD9487BCCB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8229601" y="2474913"/>
            <a:ext cx="269875" cy="0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168" name="Straight Connector 35">
            <a:extLst>
              <a:ext uri="{FF2B5EF4-FFF2-40B4-BE49-F238E27FC236}">
                <a16:creationId xmlns:a16="http://schemas.microsoft.com/office/drawing/2014/main" id="{AC13E91A-8521-8291-62AA-2DE8166461A7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8499475" y="2474913"/>
            <a:ext cx="0" cy="23971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sm" len="sm"/>
            <a:tailEnd type="triangle" w="med" len="med"/>
          </a:ln>
          <a:effectLst/>
        </p:spPr>
      </p:cxnSp>
      <p:cxnSp>
        <p:nvCxnSpPr>
          <p:cNvPr id="169" name="Straight Connector 289">
            <a:extLst>
              <a:ext uri="{FF2B5EF4-FFF2-40B4-BE49-F238E27FC236}">
                <a16:creationId xmlns:a16="http://schemas.microsoft.com/office/drawing/2014/main" id="{E3F76F2B-890F-3E80-9C3B-8EC7EA4098F0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 flipV="1">
            <a:off x="9737725" y="2262189"/>
            <a:ext cx="0" cy="22701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70" name="Straight Connector 290">
            <a:extLst>
              <a:ext uri="{FF2B5EF4-FFF2-40B4-BE49-F238E27FC236}">
                <a16:creationId xmlns:a16="http://schemas.microsoft.com/office/drawing/2014/main" id="{AF1AA412-16C0-1E81-2855-03E84A7448B4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9737726" y="2262188"/>
            <a:ext cx="269875" cy="0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71" name="Straight Connector 291">
            <a:extLst>
              <a:ext uri="{FF2B5EF4-FFF2-40B4-BE49-F238E27FC236}">
                <a16:creationId xmlns:a16="http://schemas.microsoft.com/office/drawing/2014/main" id="{B780F172-BA13-D70F-A8C6-337057A657B9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10007600" y="2262188"/>
            <a:ext cx="0" cy="23971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72" name="Straight Connector 41">
            <a:extLst>
              <a:ext uri="{FF2B5EF4-FFF2-40B4-BE49-F238E27FC236}">
                <a16:creationId xmlns:a16="http://schemas.microsoft.com/office/drawing/2014/main" id="{5E9DF912-8FF6-DE61-B13C-9777AFE672B3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 flipV="1">
            <a:off x="11247438" y="1987551"/>
            <a:ext cx="0" cy="16351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73" name="Straight Connector 42">
            <a:extLst>
              <a:ext uri="{FF2B5EF4-FFF2-40B4-BE49-F238E27FC236}">
                <a16:creationId xmlns:a16="http://schemas.microsoft.com/office/drawing/2014/main" id="{E7505B4D-089D-AC55-4145-3B46F3518900}"/>
              </a:ext>
            </a:extLst>
          </p:cNvPr>
          <p:cNvCxnSpPr>
            <a:cxnSpLocks/>
          </p:cNvCxnSpPr>
          <p:nvPr>
            <p:custDataLst>
              <p:tags r:id="rId21"/>
            </p:custDataLst>
          </p:nvPr>
        </p:nvCxnSpPr>
        <p:spPr bwMode="auto">
          <a:xfrm>
            <a:off x="11247439" y="1987550"/>
            <a:ext cx="269875" cy="0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74" name="Straight Connector 43">
            <a:extLst>
              <a:ext uri="{FF2B5EF4-FFF2-40B4-BE49-F238E27FC236}">
                <a16:creationId xmlns:a16="http://schemas.microsoft.com/office/drawing/2014/main" id="{67332B34-D747-D0D4-B086-70BA29EEE534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11517313" y="1987550"/>
            <a:ext cx="0" cy="333375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175" name="Text Placeholder 2">
            <a:extLst>
              <a:ext uri="{FF2B5EF4-FFF2-40B4-BE49-F238E27FC236}">
                <a16:creationId xmlns:a16="http://schemas.microsoft.com/office/drawing/2014/main" id="{66FF6148-513D-0DAB-2592-B603A410E8C4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712913" y="1362075"/>
            <a:ext cx="4762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UR / Ton</a:t>
            </a:r>
          </a:p>
        </p:txBody>
      </p:sp>
      <p:sp>
        <p:nvSpPr>
          <p:cNvPr id="176" name="Text Placeholder 2">
            <a:extLst>
              <a:ext uri="{FF2B5EF4-FFF2-40B4-BE49-F238E27FC236}">
                <a16:creationId xmlns:a16="http://schemas.microsoft.com/office/drawing/2014/main" id="{8018327E-CA29-E525-0418-8889CB9DEBAA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2159000" y="3152775"/>
            <a:ext cx="3365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FFEF646-7C72-4EBF-8938-54CF65F43BD8}" type="datetime'M''''''''''''''''L''''''''K1''''''''''''''''''''''1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LK11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7" name="Text Placeholder 2">
            <a:extLst>
              <a:ext uri="{FF2B5EF4-FFF2-40B4-BE49-F238E27FC236}">
                <a16:creationId xmlns:a16="http://schemas.microsoft.com/office/drawing/2014/main" id="{10723C15-3A55-DCFF-ED86-FAB10765A0F0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2914650" y="3152775"/>
            <a:ext cx="3365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509A5C4-8E6F-42C9-B893-73A6ED42A8BA}" type="datetime'''''''''M''''''L''''''''''''''''K''''1''''2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LK12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8" name="Text Placeholder 2">
            <a:extLst>
              <a:ext uri="{FF2B5EF4-FFF2-40B4-BE49-F238E27FC236}">
                <a16:creationId xmlns:a16="http://schemas.microsoft.com/office/drawing/2014/main" id="{6BB241CF-65A8-D849-52E5-1AED64FBCE73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3668713" y="3152775"/>
            <a:ext cx="3365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DC2E8BC-AE99-4488-8855-C995206F4A7B}" type="datetime'''''''''''''M''''''''''''''''''''L''''''K13''''''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LK13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9" name="Text Placeholder 2">
            <a:extLst>
              <a:ext uri="{FF2B5EF4-FFF2-40B4-BE49-F238E27FC236}">
                <a16:creationId xmlns:a16="http://schemas.microsoft.com/office/drawing/2014/main" id="{A9B01FE6-51E3-EC67-9EC8-FD3D0BCD98B7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4422775" y="3152775"/>
            <a:ext cx="3365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A0D213F-EA5D-40A5-8406-456DD15AEBBF}" type="datetime'''''''''M''''''''''''L''K''''''''''''''''''''''''''1''4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LK14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0" name="Text Placeholder 2">
            <a:extLst>
              <a:ext uri="{FF2B5EF4-FFF2-40B4-BE49-F238E27FC236}">
                <a16:creationId xmlns:a16="http://schemas.microsoft.com/office/drawing/2014/main" id="{0218E836-C7C0-E345-8FD8-095D3367779C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5932488" y="3152775"/>
            <a:ext cx="3365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8B71620-8FDE-4119-81B2-D685E9EC6AF0}" type="datetime'''''''''''''''''''''''M''LK''''''''1''''''''''''''''6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LK16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1" name="Text Placeholder 2">
            <a:extLst>
              <a:ext uri="{FF2B5EF4-FFF2-40B4-BE49-F238E27FC236}">
                <a16:creationId xmlns:a16="http://schemas.microsoft.com/office/drawing/2014/main" id="{C364935A-937A-32C8-3AF9-5140663301C4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6686550" y="3152775"/>
            <a:ext cx="3365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9AC048C-46D9-4526-9BE2-9D71C656DB05}" type="datetime'M''L''''''''''''''''''''''''K''''''1''''''''''''7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LK17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2" name="Text Placeholder 2">
            <a:extLst>
              <a:ext uri="{FF2B5EF4-FFF2-40B4-BE49-F238E27FC236}">
                <a16:creationId xmlns:a16="http://schemas.microsoft.com/office/drawing/2014/main" id="{6F08CEF6-48E7-CB1E-BECC-47E61720F943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7440613" y="3152775"/>
            <a:ext cx="3365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BA4A0D4-AC7A-4E92-A026-D5231CFF0C86}" type="datetime'''''''M''''''''''''''''''''L''''K''''''1''''''''''8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LK18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3" name="Text Placeholder 2">
            <a:extLst>
              <a:ext uri="{FF2B5EF4-FFF2-40B4-BE49-F238E27FC236}">
                <a16:creationId xmlns:a16="http://schemas.microsoft.com/office/drawing/2014/main" id="{9AE1EC97-36B9-959F-CCA9-151EE5895C08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8196263" y="3152775"/>
            <a:ext cx="3365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ECC7B89-483E-4002-935B-4D3C54ADC8C1}" type="datetime'''''''''M''''''''''''''LK''''''19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LK19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4" name="Text Placeholder 2">
            <a:extLst>
              <a:ext uri="{FF2B5EF4-FFF2-40B4-BE49-F238E27FC236}">
                <a16:creationId xmlns:a16="http://schemas.microsoft.com/office/drawing/2014/main" id="{0642D935-536E-9A3C-A370-17627A567E1A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11214100" y="3152775"/>
            <a:ext cx="3365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962CD1E-C3F8-4D9C-9DA1-9472344B530A}" type="datetime'M''''''''L''''''''K''2''''''''''3''''''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LK23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5" name="Text Placeholder 2">
            <a:extLst>
              <a:ext uri="{FF2B5EF4-FFF2-40B4-BE49-F238E27FC236}">
                <a16:creationId xmlns:a16="http://schemas.microsoft.com/office/drawing/2014/main" id="{80CE653D-5BD2-E4FB-4928-206023CDED37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10460038" y="3152775"/>
            <a:ext cx="3365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93C2C30-B2D5-427F-BC5F-D55B2C5FE1B9}" type="datetime'M''L''''K''''''''''''''''2''''''''2''''''''''''''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LK22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6" name="Text Placeholder 2">
            <a:extLst>
              <a:ext uri="{FF2B5EF4-FFF2-40B4-BE49-F238E27FC236}">
                <a16:creationId xmlns:a16="http://schemas.microsoft.com/office/drawing/2014/main" id="{E63B7835-7A12-2C91-16C4-9AE81ACA29E4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9704388" y="3152775"/>
            <a:ext cx="3365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1C54B4A-E999-4A3A-951F-8EE388EE33E5}" type="datetime'M''''''''L''''K''''''''''''''''''21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LK21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7" name="Text Placeholder 2">
            <a:extLst>
              <a:ext uri="{FF2B5EF4-FFF2-40B4-BE49-F238E27FC236}">
                <a16:creationId xmlns:a16="http://schemas.microsoft.com/office/drawing/2014/main" id="{9C37418B-A101-74B3-3AFA-959FBAF26177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5178425" y="3152775"/>
            <a:ext cx="3365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871D1B8-4E44-4440-A385-B3952A5095F1}" type="datetime'M''''L''''''''''''''''''''''K''''''''1''''''''''''5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LK15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8" name="Text Placeholder 2">
            <a:extLst>
              <a:ext uri="{FF2B5EF4-FFF2-40B4-BE49-F238E27FC236}">
                <a16:creationId xmlns:a16="http://schemas.microsoft.com/office/drawing/2014/main" id="{D9809055-6465-3E2C-C42C-3FB5F4939F04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8950325" y="3152775"/>
            <a:ext cx="3365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B2A1996-E642-4AE1-AFA5-19208A434CAB}" type="datetime'M''''''''''''L''''K''''''2''''''''''''''''''0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LK20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9" name="Google Shape;11;p28">
            <a:extLst>
              <a:ext uri="{FF2B5EF4-FFF2-40B4-BE49-F238E27FC236}">
                <a16:creationId xmlns:a16="http://schemas.microsoft.com/office/drawing/2014/main" id="{54A2B7EB-3F1C-051A-4A8D-2D2771027AB5}"/>
              </a:ext>
            </a:extLst>
          </p:cNvPr>
          <p:cNvSpPr txBox="1"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2138363" y="2055813"/>
            <a:ext cx="377825" cy="173038"/>
          </a:xfrm>
          <a:prstGeom prst="ellipse">
            <a:avLst/>
          </a:prstGeom>
          <a:solidFill>
            <a:srgbClr val="010A19"/>
          </a:solidFill>
          <a:ln w="9525" cmpd="sng" algn="ctr">
            <a:solidFill>
              <a:srgbClr val="00004B"/>
            </a:solidFill>
          </a:ln>
          <a:effectLst/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BCAF7660-20C6-4EE8-B16A-F8A7F283916E}" type="datetime'''-''''''''''''''4'''',''''''''3''''''''''''''''''''''%'''">
              <a:rPr kumimoji="0" lang="en-US" altLang="en-US" sz="800" b="1" i="0" u="none" strike="noStrike" kern="0" cap="none" spc="0" normalizeH="0" baseline="0" noProof="0" smtClean="0">
                <a:ln>
                  <a:noFill/>
                </a:ln>
                <a:solidFill>
                  <a:srgbClr val="73DC78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-4,3%</a:t>
            </a:fld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73DC78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90" name="Oval 66">
            <a:extLst>
              <a:ext uri="{FF2B5EF4-FFF2-40B4-BE49-F238E27FC236}">
                <a16:creationId xmlns:a16="http://schemas.microsoft.com/office/drawing/2014/main" id="{22A1D675-7113-9BCA-27E1-C8FF955A518D}"/>
              </a:ext>
            </a:extLst>
          </p:cNvPr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auto">
          <a:xfrm>
            <a:off x="5157788" y="2382838"/>
            <a:ext cx="377825" cy="173038"/>
          </a:xfrm>
          <a:prstGeom prst="ellipse">
            <a:avLst/>
          </a:prstGeom>
          <a:solidFill>
            <a:srgbClr val="010A19"/>
          </a:solidFill>
          <a:ln w="9525" algn="ctr">
            <a:solidFill>
              <a:srgbClr val="00004B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85750" indent="-285750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●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76275" indent="-276225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2pPr>
            <a:lvl3pPr marL="1144588" indent="-287338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1619250" indent="-295275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4pPr>
            <a:lvl5pPr marL="2093913" indent="-295275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Char char="•"/>
              <a:defRPr sz="1800">
                <a:solidFill>
                  <a:schemeClr val="tx1"/>
                </a:solidFill>
                <a:latin typeface="+mn-lt"/>
              </a:defRPr>
            </a:lvl5pPr>
            <a:lvl6pPr marL="25511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30083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34655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9227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7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3DC78"/>
              </a:buClr>
              <a:buSzTx/>
              <a:buFont typeface="Arial" charset="0"/>
              <a:buNone/>
              <a:tabLst/>
              <a:defRPr/>
            </a:pPr>
            <a:fld id="{0DD279EC-24F8-4176-9F4B-EF81DB051159}" type="datetime'''''''''-''0'''',''''''''''''''''''4''''''''''''''''''''''%'">
              <a:rPr kumimoji="0" lang="en-US" altLang="en-US" sz="800" b="1" i="0" u="none" strike="noStrike" kern="0" cap="none" spc="0" normalizeH="0" baseline="0" noProof="0" smtClean="0">
                <a:ln>
                  <a:noFill/>
                </a:ln>
                <a:solidFill>
                  <a:srgbClr val="73DC7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572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DC78"/>
                </a:buClr>
                <a:buSzTx/>
                <a:buFont typeface="Arial" charset="0"/>
                <a:buNone/>
                <a:tabLst/>
                <a:defRPr/>
              </a:pPr>
              <a:t>-0,4%</a:t>
            </a:fld>
            <a:endParaRPr kumimoji="0" lang="en-US" altLang="en-US" sz="800" b="1" i="0" u="none" strike="noStrike" kern="0" cap="none" spc="0" normalizeH="0" baseline="0" noProof="0">
              <a:ln>
                <a:noFill/>
              </a:ln>
              <a:solidFill>
                <a:srgbClr val="73DC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1" name="Google Shape;11;p28">
            <a:extLst>
              <a:ext uri="{FF2B5EF4-FFF2-40B4-BE49-F238E27FC236}">
                <a16:creationId xmlns:a16="http://schemas.microsoft.com/office/drawing/2014/main" id="{45ED34C1-5149-2DA0-720D-CF6A7833A208}"/>
              </a:ext>
            </a:extLst>
          </p:cNvPr>
          <p:cNvSpPr txBox="1"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5911850" y="2586038"/>
            <a:ext cx="377825" cy="173038"/>
          </a:xfrm>
          <a:prstGeom prst="ellipse">
            <a:avLst/>
          </a:prstGeom>
          <a:solidFill>
            <a:srgbClr val="010A19"/>
          </a:solidFill>
          <a:ln w="9525" cmpd="sng" algn="ctr">
            <a:solidFill>
              <a:srgbClr val="00004B"/>
            </a:solidFill>
          </a:ln>
          <a:effectLst/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969C5AA9-E42B-4E4B-B9C0-E196F4A323E9}" type="datetime'''''''''''''-''''3'''',''''''9''''''''%'''''''''">
              <a:rPr kumimoji="0" lang="en-US" altLang="en-US" sz="800" b="1" i="0" u="none" strike="noStrike" kern="0" cap="none" spc="0" normalizeH="0" baseline="0" noProof="0" smtClean="0">
                <a:ln>
                  <a:noFill/>
                </a:ln>
                <a:solidFill>
                  <a:srgbClr val="73DC78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-3,9%</a:t>
            </a:fld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73DC78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92" name="Oval 68">
            <a:extLst>
              <a:ext uri="{FF2B5EF4-FFF2-40B4-BE49-F238E27FC236}">
                <a16:creationId xmlns:a16="http://schemas.microsoft.com/office/drawing/2014/main" id="{BD34B6DB-2415-AD5A-7275-204054622895}"/>
              </a:ext>
            </a:extLst>
          </p:cNvPr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auto">
          <a:xfrm>
            <a:off x="6665913" y="2516188"/>
            <a:ext cx="377825" cy="173038"/>
          </a:xfrm>
          <a:prstGeom prst="ellipse">
            <a:avLst/>
          </a:prstGeom>
          <a:solidFill>
            <a:srgbClr val="010A19"/>
          </a:solidFill>
          <a:ln w="9525" algn="ctr">
            <a:solidFill>
              <a:srgbClr val="00004B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85750" indent="-285750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●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76275" indent="-276225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2pPr>
            <a:lvl3pPr marL="1144588" indent="-287338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1619250" indent="-295275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4pPr>
            <a:lvl5pPr marL="2093913" indent="-295275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Char char="•"/>
              <a:defRPr sz="1800">
                <a:solidFill>
                  <a:schemeClr val="tx1"/>
                </a:solidFill>
                <a:latin typeface="+mn-lt"/>
              </a:defRPr>
            </a:lvl5pPr>
            <a:lvl6pPr marL="25511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30083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34655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9227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7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3DC78"/>
              </a:buClr>
              <a:buSzTx/>
              <a:buFont typeface="Arial" charset="0"/>
              <a:buNone/>
              <a:tabLst/>
              <a:defRPr/>
            </a:pPr>
            <a:fld id="{8124D7BC-8179-49F0-924C-C0AA43D37985}" type="datetime'''''-''''4'',''''''''''''3''''''%'''''''">
              <a:rPr kumimoji="0" lang="en-US" altLang="en-US" sz="800" b="1" i="0" u="none" strike="noStrike" kern="0" cap="none" spc="0" normalizeH="0" baseline="0" noProof="0" smtClean="0">
                <a:ln>
                  <a:noFill/>
                </a:ln>
                <a:solidFill>
                  <a:srgbClr val="73DC7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572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DC78"/>
                </a:buClr>
                <a:buSzTx/>
                <a:buFont typeface="Arial" charset="0"/>
                <a:buNone/>
                <a:tabLst/>
                <a:defRPr/>
              </a:pPr>
              <a:t>-4,3%</a:t>
            </a:fld>
            <a:endParaRPr kumimoji="0" lang="en-US" altLang="en-US" sz="800" b="1" i="0" u="none" strike="noStrike" kern="0" cap="none" spc="0" normalizeH="0" baseline="0" noProof="0">
              <a:ln>
                <a:noFill/>
              </a:ln>
              <a:solidFill>
                <a:srgbClr val="73DC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3" name="Oval 70">
            <a:extLst>
              <a:ext uri="{FF2B5EF4-FFF2-40B4-BE49-F238E27FC236}">
                <a16:creationId xmlns:a16="http://schemas.microsoft.com/office/drawing/2014/main" id="{7800B3E0-80AC-5625-BF6C-843AA4172046}"/>
              </a:ext>
            </a:extLst>
          </p:cNvPr>
          <p:cNvSpPr>
            <a:spLocks noGrp="1" noChangeArrowheads="1"/>
          </p:cNvSpPr>
          <p:nvPr>
            <p:custDataLst>
              <p:tags r:id="rId41"/>
            </p:custDataLst>
          </p:nvPr>
        </p:nvSpPr>
        <p:spPr bwMode="auto">
          <a:xfrm>
            <a:off x="8175626" y="2389188"/>
            <a:ext cx="377825" cy="173038"/>
          </a:xfrm>
          <a:prstGeom prst="ellipse">
            <a:avLst/>
          </a:prstGeom>
          <a:solidFill>
            <a:srgbClr val="010A19"/>
          </a:solidFill>
          <a:ln w="9525" algn="ctr">
            <a:solidFill>
              <a:srgbClr val="00004B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85750" indent="-285750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●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76275" indent="-276225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2pPr>
            <a:lvl3pPr marL="1144588" indent="-287338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1619250" indent="-295275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4pPr>
            <a:lvl5pPr marL="2093913" indent="-295275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Char char="•"/>
              <a:defRPr sz="1800">
                <a:solidFill>
                  <a:schemeClr val="tx1"/>
                </a:solidFill>
                <a:latin typeface="+mn-lt"/>
              </a:defRPr>
            </a:lvl5pPr>
            <a:lvl6pPr marL="25511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30083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34655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9227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7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3DC78"/>
              </a:buClr>
              <a:buSzTx/>
              <a:buFont typeface="Arial" charset="0"/>
              <a:buNone/>
              <a:tabLst/>
              <a:defRPr/>
            </a:pPr>
            <a:fld id="{84AFA691-0D85-4043-B05E-3E186596BADD}" type="datetime'-''''4'''''''''''',''9''''''''''%'''''''''">
              <a:rPr kumimoji="0" lang="en-US" altLang="en-US" sz="800" b="1" i="0" u="none" strike="noStrike" kern="0" cap="none" spc="0" normalizeH="0" baseline="0" noProof="0" smtClean="0">
                <a:ln>
                  <a:noFill/>
                </a:ln>
                <a:solidFill>
                  <a:srgbClr val="73DC7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572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DC78"/>
                </a:buClr>
                <a:buSzTx/>
                <a:buFont typeface="Arial" charset="0"/>
                <a:buNone/>
                <a:tabLst/>
                <a:defRPr/>
              </a:pPr>
              <a:t>-4,9%</a:t>
            </a:fld>
            <a:endParaRPr kumimoji="0" lang="en-US" altLang="en-US" sz="800" b="1" i="0" u="none" strike="noStrike" kern="0" cap="none" spc="0" normalizeH="0" baseline="0" noProof="0">
              <a:ln>
                <a:noFill/>
              </a:ln>
              <a:solidFill>
                <a:srgbClr val="73DC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4" name="Google Shape;11;p28">
            <a:extLst>
              <a:ext uri="{FF2B5EF4-FFF2-40B4-BE49-F238E27FC236}">
                <a16:creationId xmlns:a16="http://schemas.microsoft.com/office/drawing/2014/main" id="{78A8AA50-CDAD-5EAC-747C-EAF941443450}"/>
              </a:ext>
            </a:extLst>
          </p:cNvPr>
          <p:cNvSpPr txBox="1"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9683750" y="2176463"/>
            <a:ext cx="377825" cy="173038"/>
          </a:xfrm>
          <a:prstGeom prst="ellipse">
            <a:avLst/>
          </a:prstGeom>
          <a:solidFill>
            <a:srgbClr val="010A19"/>
          </a:solidFill>
          <a:ln w="9525" cmpd="sng" algn="ctr">
            <a:solidFill>
              <a:srgbClr val="00004B"/>
            </a:solidFill>
          </a:ln>
          <a:effectLst/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DCFFCA20-3B4D-462B-AB96-9810ADE931C0}" type="datetime'''-''1'''''''''',''''''''''''0''''''''''''''''''''''''%'''''">
              <a:rPr kumimoji="0" lang="en-US" altLang="en-US" sz="800" b="1" i="0" u="none" strike="noStrike" kern="0" cap="none" spc="0" normalizeH="0" baseline="0" noProof="0" smtClean="0">
                <a:ln>
                  <a:noFill/>
                </a:ln>
                <a:solidFill>
                  <a:srgbClr val="73DC78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-1,0%</a:t>
            </a:fld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73DC78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95" name="Google Shape;11;p28">
            <a:extLst>
              <a:ext uri="{FF2B5EF4-FFF2-40B4-BE49-F238E27FC236}">
                <a16:creationId xmlns:a16="http://schemas.microsoft.com/office/drawing/2014/main" id="{3F500BC7-7BB6-D629-6F94-5D29ED9C8D40}"/>
              </a:ext>
            </a:extLst>
          </p:cNvPr>
          <p:cNvSpPr txBox="1"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11153775" y="1901825"/>
            <a:ext cx="458788" cy="173038"/>
          </a:xfrm>
          <a:prstGeom prst="ellipse">
            <a:avLst/>
          </a:prstGeom>
          <a:solidFill>
            <a:srgbClr val="010A19"/>
          </a:solidFill>
          <a:ln w="9525" algn="ctr">
            <a:solidFill>
              <a:srgbClr val="00004B"/>
            </a:solidFill>
          </a:ln>
          <a:effectLst/>
        </p:spPr>
        <p:txBody>
          <a:bodyPr spcFirstLastPara="1" vert="horz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6CCA85AF-EA9E-48D5-9369-65B184B9B70F}" type="datetime'-''''''''1''0'''''''''''''''''''''''''',''''''''''''''2%'''">
              <a:rPr kumimoji="0" lang="en-US" altLang="en-US" sz="800" b="1" i="0" u="none" strike="noStrike" kern="0" cap="none" spc="0" normalizeH="0" baseline="0" noProof="0" smtClean="0">
                <a:ln>
                  <a:noFill/>
                </a:ln>
                <a:solidFill>
                  <a:srgbClr val="73DC78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-10,2%</a:t>
            </a:fld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73DC78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96" name="Rectangle 73">
            <a:extLst>
              <a:ext uri="{FF2B5EF4-FFF2-40B4-BE49-F238E27FC236}">
                <a16:creationId xmlns:a16="http://schemas.microsoft.com/office/drawing/2014/main" id="{19E71EE0-C074-96D1-FD74-7D428C561F35}"/>
              </a:ext>
            </a:extLst>
          </p:cNvPr>
          <p:cNvSpPr/>
          <p:nvPr/>
        </p:nvSpPr>
        <p:spPr bwMode="auto">
          <a:xfrm>
            <a:off x="2004349" y="1346202"/>
            <a:ext cx="649538" cy="1781174"/>
          </a:xfrm>
          <a:prstGeom prst="rect">
            <a:avLst/>
          </a:prstGeom>
          <a:noFill/>
          <a:ln w="19050" cap="flat" cmpd="sng" algn="ctr">
            <a:solidFill>
              <a:srgbClr val="0087F1"/>
            </a:solidFill>
            <a:prstDash val="sysDot"/>
            <a:headEnd type="none" w="sm" len="sm"/>
            <a:tailEnd type="none" w="sm" len="sm"/>
          </a:ln>
          <a:effectLst/>
        </p:spPr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defTabSz="9572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F7800"/>
              </a:buClr>
              <a:buSzTx/>
              <a:buFont typeface="Arial" charset="0"/>
              <a:buChar char="●"/>
              <a:tabLst/>
              <a:defRPr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solidFill>
                <a:srgbClr val="62646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7" name="Title 1">
            <a:extLst>
              <a:ext uri="{FF2B5EF4-FFF2-40B4-BE49-F238E27FC236}">
                <a16:creationId xmlns:a16="http://schemas.microsoft.com/office/drawing/2014/main" id="{78E2FBD4-8381-26E9-C1B8-D4EEA257799E}"/>
              </a:ext>
            </a:extLst>
          </p:cNvPr>
          <p:cNvSpPr txBox="1">
            <a:spLocks/>
          </p:cNvSpPr>
          <p:nvPr/>
        </p:nvSpPr>
        <p:spPr>
          <a:xfrm>
            <a:off x="424575" y="509588"/>
            <a:ext cx="11422938" cy="812800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600" b="1" i="1" u="none" strike="noStrike" kern="0" cap="none" spc="0" normalizeH="0" baseline="0" noProof="0" dirty="0">
              <a:ln>
                <a:noFill/>
              </a:ln>
              <a:solidFill>
                <a:srgbClr val="2000F5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grpSp>
        <p:nvGrpSpPr>
          <p:cNvPr id="198" name="Group 77">
            <a:extLst>
              <a:ext uri="{FF2B5EF4-FFF2-40B4-BE49-F238E27FC236}">
                <a16:creationId xmlns:a16="http://schemas.microsoft.com/office/drawing/2014/main" id="{E9D383A4-D6E6-8326-05B0-B639B1EA15CC}"/>
              </a:ext>
            </a:extLst>
          </p:cNvPr>
          <p:cNvGrpSpPr/>
          <p:nvPr/>
        </p:nvGrpSpPr>
        <p:grpSpPr>
          <a:xfrm>
            <a:off x="2183833" y="1375189"/>
            <a:ext cx="283708" cy="274638"/>
            <a:chOff x="4251860" y="1995798"/>
            <a:chExt cx="509964" cy="509964"/>
          </a:xfrm>
        </p:grpSpPr>
        <p:sp>
          <p:nvSpPr>
            <p:cNvPr id="199" name="Oval 78">
              <a:extLst>
                <a:ext uri="{FF2B5EF4-FFF2-40B4-BE49-F238E27FC236}">
                  <a16:creationId xmlns:a16="http://schemas.microsoft.com/office/drawing/2014/main" id="{BA2D0E9F-F340-0677-B8AC-9FCBF265F970}"/>
                </a:ext>
              </a:extLst>
            </p:cNvPr>
            <p:cNvSpPr/>
            <p:nvPr/>
          </p:nvSpPr>
          <p:spPr>
            <a:xfrm>
              <a:off x="4251860" y="1995798"/>
              <a:ext cx="509964" cy="509964"/>
            </a:xfrm>
            <a:prstGeom prst="ellipse">
              <a:avLst/>
            </a:prstGeom>
            <a:solidFill>
              <a:srgbClr val="0087F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10A1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00" name="Graphic 79">
              <a:extLst>
                <a:ext uri="{FF2B5EF4-FFF2-40B4-BE49-F238E27FC236}">
                  <a16:creationId xmlns:a16="http://schemas.microsoft.com/office/drawing/2014/main" id="{7DB790A9-F367-A1B7-3F3B-71838AC5586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7"/>
                </a:ext>
              </a:extLst>
            </a:blip>
            <a:stretch>
              <a:fillRect/>
            </a:stretch>
          </p:blipFill>
          <p:spPr>
            <a:xfrm>
              <a:off x="4388165" y="2121256"/>
              <a:ext cx="237353" cy="237353"/>
            </a:xfrm>
            <a:prstGeom prst="rect">
              <a:avLst/>
            </a:prstGeom>
          </p:spPr>
        </p:pic>
      </p:grpSp>
      <p:sp>
        <p:nvSpPr>
          <p:cNvPr id="201" name="TextBox 200">
            <a:extLst>
              <a:ext uri="{FF2B5EF4-FFF2-40B4-BE49-F238E27FC236}">
                <a16:creationId xmlns:a16="http://schemas.microsoft.com/office/drawing/2014/main" id="{1C6CDE76-44B4-9EED-056A-9D5C08BD38B7}"/>
              </a:ext>
            </a:extLst>
          </p:cNvPr>
          <p:cNvSpPr txBox="1"/>
          <p:nvPr/>
        </p:nvSpPr>
        <p:spPr>
          <a:xfrm>
            <a:off x="424575" y="5999018"/>
            <a:ext cx="609946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1" u="none" strike="noStrike" kern="0" cap="none" spc="0" normalizeH="0" baseline="0" noProof="0" dirty="0">
                <a:ln>
                  <a:noFill/>
                </a:ln>
                <a:solidFill>
                  <a:srgbClr val="ABB6BA">
                    <a:lumMod val="50000"/>
                  </a:srgbClr>
                </a:solidFill>
                <a:effectLst/>
                <a:uLnTx/>
                <a:uFillTx/>
              </a:rPr>
              <a:t>NB: </a:t>
            </a:r>
            <a:r>
              <a:rPr kumimoji="0" lang="ru-RU" sz="800" b="0" i="1" u="none" strike="noStrike" kern="0" cap="none" spc="0" normalizeH="0" baseline="0" noProof="0" dirty="0">
                <a:ln>
                  <a:noFill/>
                </a:ln>
                <a:solidFill>
                  <a:srgbClr val="ABB6BA">
                    <a:lumMod val="50000"/>
                  </a:srgbClr>
                </a:solidFill>
                <a:effectLst/>
                <a:uLnTx/>
                <a:uFillTx/>
              </a:rPr>
              <a:t>Максимальная выплата </a:t>
            </a:r>
            <a:r>
              <a:rPr kumimoji="0" lang="en-US" sz="800" b="0" i="1" u="none" strike="noStrike" kern="0" cap="none" spc="0" normalizeH="0" baseline="0" noProof="0" dirty="0">
                <a:ln>
                  <a:noFill/>
                </a:ln>
                <a:solidFill>
                  <a:srgbClr val="ABB6BA">
                    <a:lumMod val="50000"/>
                  </a:srgbClr>
                </a:solidFill>
                <a:effectLst/>
                <a:uLnTx/>
                <a:uFillTx/>
              </a:rPr>
              <a:t>15%    |   </a:t>
            </a:r>
            <a:r>
              <a:rPr kumimoji="0" lang="en-US" sz="800" b="0" i="1" u="none" strike="noStrike" kern="0" cap="none" spc="0" normalizeH="0" baseline="0" noProof="0" dirty="0">
                <a:ln>
                  <a:noFill/>
                </a:ln>
                <a:solidFill>
                  <a:srgbClr val="ABB6BA">
                    <a:lumMod val="50000"/>
                  </a:srgbClr>
                </a:solidFill>
                <a:effectLst/>
                <a:uLnTx/>
                <a:uFillTx/>
                <a:latin typeface="Roboto" panose="02000000000000000000" pitchFamily="2" charset="0"/>
                <a:ea typeface="Calibri" panose="020F0502020204030204" pitchFamily="34" charset="0"/>
                <a:cs typeface="Calibri" panose="020F0502020204030204" pitchFamily="34" charset="0"/>
              </a:rPr>
              <a:t>Copyright © 2023. All </a:t>
            </a:r>
            <a:r>
              <a:rPr kumimoji="0" lang="en-US" sz="800" b="0" i="1" u="none" strike="noStrike" kern="0" cap="none" spc="0" normalizeH="0" baseline="0" noProof="0" dirty="0">
                <a:ln>
                  <a:noFill/>
                </a:ln>
                <a:solidFill>
                  <a:srgbClr val="ABB6BA">
                    <a:lumMod val="50000"/>
                  </a:srgbClr>
                </a:solidFill>
                <a:effectLst/>
                <a:uLnTx/>
                <a:uFillTx/>
                <a:latin typeface="Roboto" panose="02000000000000000000" pitchFamily="2" charset="0"/>
                <a:ea typeface="Calibri" panose="020F0502020204030204" pitchFamily="34" charset="0"/>
                <a:hlinkClick r:id="rId10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rket data</a:t>
            </a:r>
            <a:r>
              <a:rPr kumimoji="0" lang="en-US" sz="800" b="0" i="1" u="none" strike="noStrike" kern="0" cap="none" spc="0" normalizeH="0" baseline="0" noProof="0" dirty="0">
                <a:ln>
                  <a:noFill/>
                </a:ln>
                <a:solidFill>
                  <a:srgbClr val="ABB6BA">
                    <a:lumMod val="50000"/>
                  </a:srgbClr>
                </a:solidFill>
                <a:effectLst/>
                <a:uLnTx/>
                <a:uFillTx/>
                <a:latin typeface="Roboto" panose="02000000000000000000" pitchFamily="2" charset="0"/>
                <a:ea typeface="Calibri" panose="020F0502020204030204" pitchFamily="34" charset="0"/>
                <a:cs typeface="Calibri" panose="020F0502020204030204" pitchFamily="34" charset="0"/>
              </a:rPr>
              <a:t> is </a:t>
            </a:r>
            <a:r>
              <a:rPr kumimoji="0" lang="en-US" sz="800" b="0" i="1" u="none" strike="noStrike" kern="0" cap="none" spc="0" normalizeH="0" baseline="0" noProof="0" dirty="0">
                <a:ln>
                  <a:noFill/>
                </a:ln>
                <a:solidFill>
                  <a:srgbClr val="ABB6BA">
                    <a:lumMod val="50000"/>
                  </a:srgbClr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provided</a:t>
            </a:r>
            <a:r>
              <a:rPr kumimoji="0" lang="en-US" sz="800" b="0" i="1" u="none" strike="noStrike" kern="0" cap="none" spc="0" normalizeH="0" baseline="0" noProof="0" dirty="0">
                <a:ln>
                  <a:noFill/>
                </a:ln>
                <a:solidFill>
                  <a:srgbClr val="ABB6BA">
                    <a:lumMod val="50000"/>
                  </a:srgbClr>
                </a:solidFill>
                <a:effectLst/>
                <a:uLnTx/>
                <a:uFillTx/>
                <a:latin typeface="Roboto" panose="02000000000000000000" pitchFamily="2" charset="0"/>
                <a:ea typeface="Calibri" panose="020F0502020204030204" pitchFamily="34" charset="0"/>
                <a:cs typeface="Calibri" panose="020F0502020204030204" pitchFamily="34" charset="0"/>
              </a:rPr>
              <a:t> by Barchart Solutions</a:t>
            </a:r>
            <a:endParaRPr kumimoji="0" lang="en-US" sz="800" b="0" i="1" u="none" strike="noStrike" kern="0" cap="none" spc="0" normalizeH="0" baseline="0" noProof="0" dirty="0">
              <a:ln>
                <a:noFill/>
              </a:ln>
              <a:solidFill>
                <a:srgbClr val="ABB6BA">
                  <a:lumMod val="50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202" name="Rectangle 88">
            <a:extLst>
              <a:ext uri="{FF2B5EF4-FFF2-40B4-BE49-F238E27FC236}">
                <a16:creationId xmlns:a16="http://schemas.microsoft.com/office/drawing/2014/main" id="{08D8A0B5-AD12-BE7E-6B99-D04FA00B9623}"/>
              </a:ext>
            </a:extLst>
          </p:cNvPr>
          <p:cNvSpPr/>
          <p:nvPr>
            <p:custDataLst>
              <p:tags r:id="rId44"/>
            </p:custDataLst>
          </p:nvPr>
        </p:nvSpPr>
        <p:spPr bwMode="auto">
          <a:xfrm>
            <a:off x="4538663" y="3333750"/>
            <a:ext cx="142875" cy="106363"/>
          </a:xfrm>
          <a:prstGeom prst="rect">
            <a:avLst/>
          </a:prstGeom>
          <a:solidFill>
            <a:srgbClr val="2000F5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3" name="Rectangle 89">
            <a:extLst>
              <a:ext uri="{FF2B5EF4-FFF2-40B4-BE49-F238E27FC236}">
                <a16:creationId xmlns:a16="http://schemas.microsoft.com/office/drawing/2014/main" id="{85C1B5C7-839F-284F-E5E8-F7AF1A7AE7C3}"/>
              </a:ext>
            </a:extLst>
          </p:cNvPr>
          <p:cNvSpPr/>
          <p:nvPr>
            <p:custDataLst>
              <p:tags r:id="rId45"/>
            </p:custDataLst>
          </p:nvPr>
        </p:nvSpPr>
        <p:spPr bwMode="auto">
          <a:xfrm>
            <a:off x="6913563" y="3333750"/>
            <a:ext cx="142875" cy="106363"/>
          </a:xfrm>
          <a:prstGeom prst="rect">
            <a:avLst/>
          </a:prstGeom>
          <a:solidFill>
            <a:srgbClr val="8CEF8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4" name="Text Placeholder 2">
            <a:extLst>
              <a:ext uri="{FF2B5EF4-FFF2-40B4-BE49-F238E27FC236}">
                <a16:creationId xmlns:a16="http://schemas.microsoft.com/office/drawing/2014/main" id="{97D1FA40-1CA5-6BBC-5812-929C80C91D8F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4732338" y="3328988"/>
            <a:ext cx="207962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80935CF-319C-407E-ADF2-39DD80C842FC}" type="datetime'SPRING Price Fixatio''''n ''Aver''age ''22.01 -'' ''1''''5.03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SPRING Price Fixation Average 22.01 - 15.03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5" name="Text Placeholder 2">
            <a:extLst>
              <a:ext uri="{FF2B5EF4-FFF2-40B4-BE49-F238E27FC236}">
                <a16:creationId xmlns:a16="http://schemas.microsoft.com/office/drawing/2014/main" id="{D220C72E-CEBB-CA63-9DF8-C430A050CEB8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7107238" y="3328988"/>
            <a:ext cx="1560513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24D1290-D7C3-4586-A50B-D344FED594AD}" type="datetime'Set''tl''em''ent''''  A''''ve''rage 18.''''0''3 - ''30''''.04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Settlement  Average 18.03 - 30.04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6" name="Rectangle 138">
            <a:extLst>
              <a:ext uri="{FF2B5EF4-FFF2-40B4-BE49-F238E27FC236}">
                <a16:creationId xmlns:a16="http://schemas.microsoft.com/office/drawing/2014/main" id="{98190C12-8224-A141-6964-314DD34E9489}"/>
              </a:ext>
            </a:extLst>
          </p:cNvPr>
          <p:cNvSpPr/>
          <p:nvPr/>
        </p:nvSpPr>
        <p:spPr bwMode="auto">
          <a:xfrm>
            <a:off x="11038114" y="1346202"/>
            <a:ext cx="743593" cy="1781174"/>
          </a:xfrm>
          <a:prstGeom prst="rect">
            <a:avLst/>
          </a:prstGeom>
          <a:noFill/>
          <a:ln w="19050" cap="flat" cmpd="sng" algn="ctr">
            <a:solidFill>
              <a:srgbClr val="0087F1"/>
            </a:solidFill>
            <a:prstDash val="sysDot"/>
            <a:headEnd type="none" w="sm" len="sm"/>
            <a:tailEnd type="none" w="sm" len="sm"/>
          </a:ln>
          <a:effectLst/>
        </p:spPr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defTabSz="9572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F7800"/>
              </a:buClr>
              <a:buSzTx/>
              <a:buFont typeface="Arial" charset="0"/>
              <a:buChar char="●"/>
              <a:tabLst/>
              <a:defRPr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solidFill>
                <a:srgbClr val="62646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07" name="Group 139">
            <a:extLst>
              <a:ext uri="{FF2B5EF4-FFF2-40B4-BE49-F238E27FC236}">
                <a16:creationId xmlns:a16="http://schemas.microsoft.com/office/drawing/2014/main" id="{292C8D2B-60E5-98EC-DDFB-19160AF9F2D9}"/>
              </a:ext>
            </a:extLst>
          </p:cNvPr>
          <p:cNvGrpSpPr/>
          <p:nvPr/>
        </p:nvGrpSpPr>
        <p:grpSpPr>
          <a:xfrm>
            <a:off x="11300918" y="1375189"/>
            <a:ext cx="283708" cy="274638"/>
            <a:chOff x="4251860" y="1995798"/>
            <a:chExt cx="509964" cy="509964"/>
          </a:xfrm>
        </p:grpSpPr>
        <p:sp>
          <p:nvSpPr>
            <p:cNvPr id="208" name="Oval 140">
              <a:extLst>
                <a:ext uri="{FF2B5EF4-FFF2-40B4-BE49-F238E27FC236}">
                  <a16:creationId xmlns:a16="http://schemas.microsoft.com/office/drawing/2014/main" id="{328434DD-C9CF-8C08-E8BA-48A3F1BC9840}"/>
                </a:ext>
              </a:extLst>
            </p:cNvPr>
            <p:cNvSpPr/>
            <p:nvPr/>
          </p:nvSpPr>
          <p:spPr>
            <a:xfrm>
              <a:off x="4251860" y="1995798"/>
              <a:ext cx="509964" cy="509964"/>
            </a:xfrm>
            <a:prstGeom prst="ellipse">
              <a:avLst/>
            </a:prstGeom>
            <a:solidFill>
              <a:srgbClr val="0087F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10A1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09" name="Graphic 141">
              <a:extLst>
                <a:ext uri="{FF2B5EF4-FFF2-40B4-BE49-F238E27FC236}">
                  <a16:creationId xmlns:a16="http://schemas.microsoft.com/office/drawing/2014/main" id="{CEB69621-087B-3E70-D7C9-29C8805E7D4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7"/>
                </a:ext>
              </a:extLst>
            </a:blip>
            <a:stretch>
              <a:fillRect/>
            </a:stretch>
          </p:blipFill>
          <p:spPr>
            <a:xfrm>
              <a:off x="4388165" y="2121256"/>
              <a:ext cx="237353" cy="237353"/>
            </a:xfrm>
            <a:prstGeom prst="rect">
              <a:avLst/>
            </a:prstGeom>
          </p:spPr>
        </p:pic>
      </p:grpSp>
      <p:sp>
        <p:nvSpPr>
          <p:cNvPr id="210" name="Arrow: Chevron 171">
            <a:extLst>
              <a:ext uri="{FF2B5EF4-FFF2-40B4-BE49-F238E27FC236}">
                <a16:creationId xmlns:a16="http://schemas.microsoft.com/office/drawing/2014/main" id="{F07C5EC0-A5FD-4B0C-A9CF-7D0D0CC55A7E}"/>
              </a:ext>
            </a:extLst>
          </p:cNvPr>
          <p:cNvSpPr/>
          <p:nvPr/>
        </p:nvSpPr>
        <p:spPr>
          <a:xfrm>
            <a:off x="153089" y="1322388"/>
            <a:ext cx="1330785" cy="2251075"/>
          </a:xfrm>
          <a:prstGeom prst="chevron">
            <a:avLst>
              <a:gd name="adj" fmla="val 0"/>
            </a:avLst>
          </a:prstGeom>
          <a:solidFill>
            <a:srgbClr val="73DC78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0" cap="none" spc="0" normalizeH="0" baseline="0" noProof="0" dirty="0">
                <a:ln>
                  <a:noFill/>
                </a:ln>
                <a:solidFill>
                  <a:srgbClr val="010A19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ЗоРРО Весна</a:t>
            </a: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010A19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50" i="1" kern="0" dirty="0">
                <a:solidFill>
                  <a:srgbClr val="010A19"/>
                </a:solidFill>
                <a:latin typeface="Arial"/>
                <a:cs typeface="Arial" panose="020B0604020202020204" pitchFamily="34" charset="0"/>
              </a:rPr>
              <a:t>Майский индекс</a:t>
            </a:r>
            <a:endParaRPr kumimoji="0" lang="en-US" sz="1050" b="0" i="1" u="none" strike="noStrike" kern="0" cap="none" spc="0" normalizeH="0" baseline="0" noProof="0" dirty="0">
              <a:ln>
                <a:noFill/>
              </a:ln>
              <a:solidFill>
                <a:srgbClr val="010A19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010A19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11" name="Rectangle 217">
            <a:extLst>
              <a:ext uri="{FF2B5EF4-FFF2-40B4-BE49-F238E27FC236}">
                <a16:creationId xmlns:a16="http://schemas.microsoft.com/office/drawing/2014/main" id="{2072642A-BD74-C3AB-7117-654BDC4100CA}"/>
              </a:ext>
            </a:extLst>
          </p:cNvPr>
          <p:cNvSpPr/>
          <p:nvPr/>
        </p:nvSpPr>
        <p:spPr>
          <a:xfrm>
            <a:off x="1484313" y="3684588"/>
            <a:ext cx="10448925" cy="2251075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10A1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2" name="Chart 133">
            <a:extLst>
              <a:ext uri="{FF2B5EF4-FFF2-40B4-BE49-F238E27FC236}">
                <a16:creationId xmlns:a16="http://schemas.microsoft.com/office/drawing/2014/main" id="{32E2E821-9021-ED0B-BD22-902558C9248F}"/>
              </a:ext>
            </a:extLst>
          </p:cNvPr>
          <p:cNvGraphicFramePr/>
          <p:nvPr>
            <p:custDataLst>
              <p:tags r:id="rId48"/>
            </p:custDataLst>
          </p:nvPr>
        </p:nvGraphicFramePr>
        <p:xfrm>
          <a:off x="1589088" y="3849688"/>
          <a:ext cx="10253662" cy="1817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9"/>
          </a:graphicData>
        </a:graphic>
      </p:graphicFrame>
      <p:cxnSp>
        <p:nvCxnSpPr>
          <p:cNvPr id="213" name="Straight Connector 337">
            <a:extLst>
              <a:ext uri="{FF2B5EF4-FFF2-40B4-BE49-F238E27FC236}">
                <a16:creationId xmlns:a16="http://schemas.microsoft.com/office/drawing/2014/main" id="{B64EE4D6-334D-12C7-28A3-FBF1A7DC0B10}"/>
              </a:ext>
            </a:extLst>
          </p:cNvPr>
          <p:cNvCxnSpPr/>
          <p:nvPr>
            <p:custDataLst>
              <p:tags r:id="rId49"/>
            </p:custDataLst>
          </p:nvPr>
        </p:nvCxnSpPr>
        <p:spPr bwMode="auto">
          <a:xfrm>
            <a:off x="2462213" y="4776788"/>
            <a:ext cx="0" cy="288925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214" name="Straight Connector 335">
            <a:extLst>
              <a:ext uri="{FF2B5EF4-FFF2-40B4-BE49-F238E27FC236}">
                <a16:creationId xmlns:a16="http://schemas.microsoft.com/office/drawing/2014/main" id="{EB6880FE-373B-FDC5-2790-3FF9884B08EB}"/>
              </a:ext>
            </a:extLst>
          </p:cNvPr>
          <p:cNvCxnSpPr/>
          <p:nvPr>
            <p:custDataLst>
              <p:tags r:id="rId50"/>
            </p:custDataLst>
          </p:nvPr>
        </p:nvCxnSpPr>
        <p:spPr bwMode="auto">
          <a:xfrm flipV="1">
            <a:off x="2192338" y="4776788"/>
            <a:ext cx="0" cy="16351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5" name="Straight Connector 336">
            <a:extLst>
              <a:ext uri="{FF2B5EF4-FFF2-40B4-BE49-F238E27FC236}">
                <a16:creationId xmlns:a16="http://schemas.microsoft.com/office/drawing/2014/main" id="{10EF1A33-4E8F-9182-FC32-03FA466ED293}"/>
              </a:ext>
            </a:extLst>
          </p:cNvPr>
          <p:cNvCxnSpPr/>
          <p:nvPr>
            <p:custDataLst>
              <p:tags r:id="rId51"/>
            </p:custDataLst>
          </p:nvPr>
        </p:nvCxnSpPr>
        <p:spPr bwMode="auto">
          <a:xfrm>
            <a:off x="2192339" y="4776788"/>
            <a:ext cx="269875" cy="0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6" name="Straight Connector 221">
            <a:extLst>
              <a:ext uri="{FF2B5EF4-FFF2-40B4-BE49-F238E27FC236}">
                <a16:creationId xmlns:a16="http://schemas.microsoft.com/office/drawing/2014/main" id="{08BED449-E3AA-D6B8-8088-9DBB7067C804}"/>
              </a:ext>
            </a:extLst>
          </p:cNvPr>
          <p:cNvCxnSpPr/>
          <p:nvPr>
            <p:custDataLst>
              <p:tags r:id="rId52"/>
            </p:custDataLst>
          </p:nvPr>
        </p:nvCxnSpPr>
        <p:spPr bwMode="auto">
          <a:xfrm>
            <a:off x="3971925" y="4794250"/>
            <a:ext cx="0" cy="23971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</p:cxnSp>
      <p:cxnSp>
        <p:nvCxnSpPr>
          <p:cNvPr id="217" name="Straight Connector 220">
            <a:extLst>
              <a:ext uri="{FF2B5EF4-FFF2-40B4-BE49-F238E27FC236}">
                <a16:creationId xmlns:a16="http://schemas.microsoft.com/office/drawing/2014/main" id="{35FBE6A0-72AA-54EF-947A-5E85487F198D}"/>
              </a:ext>
            </a:extLst>
          </p:cNvPr>
          <p:cNvCxnSpPr/>
          <p:nvPr>
            <p:custDataLst>
              <p:tags r:id="rId53"/>
            </p:custDataLst>
          </p:nvPr>
        </p:nvCxnSpPr>
        <p:spPr bwMode="auto">
          <a:xfrm flipV="1">
            <a:off x="3702050" y="4794250"/>
            <a:ext cx="0" cy="228600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218" name="Straight Connector 219">
            <a:extLst>
              <a:ext uri="{FF2B5EF4-FFF2-40B4-BE49-F238E27FC236}">
                <a16:creationId xmlns:a16="http://schemas.microsoft.com/office/drawing/2014/main" id="{5C51B5E8-FC2C-0DD2-7DF0-7B93D7129E8A}"/>
              </a:ext>
            </a:extLst>
          </p:cNvPr>
          <p:cNvCxnSpPr/>
          <p:nvPr>
            <p:custDataLst>
              <p:tags r:id="rId54"/>
            </p:custDataLst>
          </p:nvPr>
        </p:nvCxnSpPr>
        <p:spPr bwMode="auto">
          <a:xfrm>
            <a:off x="3702050" y="4794250"/>
            <a:ext cx="269875" cy="0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219" name="Straight Connector 222">
            <a:extLst>
              <a:ext uri="{FF2B5EF4-FFF2-40B4-BE49-F238E27FC236}">
                <a16:creationId xmlns:a16="http://schemas.microsoft.com/office/drawing/2014/main" id="{29B51830-7C63-8B20-036D-D21C628B7101}"/>
              </a:ext>
            </a:extLst>
          </p:cNvPr>
          <p:cNvCxnSpPr/>
          <p:nvPr>
            <p:custDataLst>
              <p:tags r:id="rId55"/>
            </p:custDataLst>
          </p:nvPr>
        </p:nvCxnSpPr>
        <p:spPr bwMode="auto">
          <a:xfrm flipV="1">
            <a:off x="4456113" y="4924425"/>
            <a:ext cx="0" cy="16351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220" name="Straight Connector 223">
            <a:extLst>
              <a:ext uri="{FF2B5EF4-FFF2-40B4-BE49-F238E27FC236}">
                <a16:creationId xmlns:a16="http://schemas.microsoft.com/office/drawing/2014/main" id="{26BDFD0A-F909-C1B5-8114-E09AC63CF485}"/>
              </a:ext>
            </a:extLst>
          </p:cNvPr>
          <p:cNvCxnSpPr/>
          <p:nvPr>
            <p:custDataLst>
              <p:tags r:id="rId56"/>
            </p:custDataLst>
          </p:nvPr>
        </p:nvCxnSpPr>
        <p:spPr bwMode="auto">
          <a:xfrm>
            <a:off x="4456113" y="4924425"/>
            <a:ext cx="269875" cy="0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221" name="Straight Connector 224">
            <a:extLst>
              <a:ext uri="{FF2B5EF4-FFF2-40B4-BE49-F238E27FC236}">
                <a16:creationId xmlns:a16="http://schemas.microsoft.com/office/drawing/2014/main" id="{81A95581-441C-5697-EA73-4403155D234D}"/>
              </a:ext>
            </a:extLst>
          </p:cNvPr>
          <p:cNvCxnSpPr/>
          <p:nvPr>
            <p:custDataLst>
              <p:tags r:id="rId57"/>
            </p:custDataLst>
          </p:nvPr>
        </p:nvCxnSpPr>
        <p:spPr bwMode="auto">
          <a:xfrm>
            <a:off x="4725988" y="4924424"/>
            <a:ext cx="0" cy="311150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</p:cxnSp>
      <p:cxnSp>
        <p:nvCxnSpPr>
          <p:cNvPr id="222" name="Straight Connector 226">
            <a:extLst>
              <a:ext uri="{FF2B5EF4-FFF2-40B4-BE49-F238E27FC236}">
                <a16:creationId xmlns:a16="http://schemas.microsoft.com/office/drawing/2014/main" id="{6D9C71A7-3EF2-A79C-D433-178FBAEECDD7}"/>
              </a:ext>
            </a:extLst>
          </p:cNvPr>
          <p:cNvCxnSpPr/>
          <p:nvPr>
            <p:custDataLst>
              <p:tags r:id="rId58"/>
            </p:custDataLst>
          </p:nvPr>
        </p:nvCxnSpPr>
        <p:spPr bwMode="auto">
          <a:xfrm>
            <a:off x="5211763" y="4908550"/>
            <a:ext cx="269875" cy="0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223" name="Straight Connector 225">
            <a:extLst>
              <a:ext uri="{FF2B5EF4-FFF2-40B4-BE49-F238E27FC236}">
                <a16:creationId xmlns:a16="http://schemas.microsoft.com/office/drawing/2014/main" id="{701CA7FB-DCE3-5691-91E6-2B9D60773855}"/>
              </a:ext>
            </a:extLst>
          </p:cNvPr>
          <p:cNvCxnSpPr/>
          <p:nvPr>
            <p:custDataLst>
              <p:tags r:id="rId59"/>
            </p:custDataLst>
          </p:nvPr>
        </p:nvCxnSpPr>
        <p:spPr bwMode="auto">
          <a:xfrm>
            <a:off x="5481638" y="4908550"/>
            <a:ext cx="0" cy="23971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sm" len="sm"/>
            <a:tailEnd type="triangle" w="med" len="med"/>
          </a:ln>
          <a:effectLst/>
        </p:spPr>
      </p:cxnSp>
      <p:cxnSp>
        <p:nvCxnSpPr>
          <p:cNvPr id="224" name="Straight Connector 227">
            <a:extLst>
              <a:ext uri="{FF2B5EF4-FFF2-40B4-BE49-F238E27FC236}">
                <a16:creationId xmlns:a16="http://schemas.microsoft.com/office/drawing/2014/main" id="{F88A1E3C-97A5-A26B-99C9-901668A27CF1}"/>
              </a:ext>
            </a:extLst>
          </p:cNvPr>
          <p:cNvCxnSpPr/>
          <p:nvPr>
            <p:custDataLst>
              <p:tags r:id="rId60"/>
            </p:custDataLst>
          </p:nvPr>
        </p:nvCxnSpPr>
        <p:spPr bwMode="auto">
          <a:xfrm flipV="1">
            <a:off x="5211763" y="4908551"/>
            <a:ext cx="0" cy="16986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225" name="Straight Connector 230">
            <a:extLst>
              <a:ext uri="{FF2B5EF4-FFF2-40B4-BE49-F238E27FC236}">
                <a16:creationId xmlns:a16="http://schemas.microsoft.com/office/drawing/2014/main" id="{6E7C0CD3-D115-8D91-E9AC-746BD508BAF2}"/>
              </a:ext>
            </a:extLst>
          </p:cNvPr>
          <p:cNvCxnSpPr/>
          <p:nvPr>
            <p:custDataLst>
              <p:tags r:id="rId61"/>
            </p:custDataLst>
          </p:nvPr>
        </p:nvCxnSpPr>
        <p:spPr bwMode="auto">
          <a:xfrm flipV="1">
            <a:off x="5965825" y="4991100"/>
            <a:ext cx="0" cy="200025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226" name="Straight Connector 228">
            <a:extLst>
              <a:ext uri="{FF2B5EF4-FFF2-40B4-BE49-F238E27FC236}">
                <a16:creationId xmlns:a16="http://schemas.microsoft.com/office/drawing/2014/main" id="{010083BF-E57F-E7AE-6013-A5614DB062F6}"/>
              </a:ext>
            </a:extLst>
          </p:cNvPr>
          <p:cNvCxnSpPr/>
          <p:nvPr>
            <p:custDataLst>
              <p:tags r:id="rId62"/>
            </p:custDataLst>
          </p:nvPr>
        </p:nvCxnSpPr>
        <p:spPr bwMode="auto">
          <a:xfrm>
            <a:off x="5965825" y="4991100"/>
            <a:ext cx="269875" cy="0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227" name="Straight Connector 229">
            <a:extLst>
              <a:ext uri="{FF2B5EF4-FFF2-40B4-BE49-F238E27FC236}">
                <a16:creationId xmlns:a16="http://schemas.microsoft.com/office/drawing/2014/main" id="{E3542CB6-D4FF-94DD-DCBF-CE44D50457B6}"/>
              </a:ext>
            </a:extLst>
          </p:cNvPr>
          <p:cNvCxnSpPr/>
          <p:nvPr>
            <p:custDataLst>
              <p:tags r:id="rId63"/>
            </p:custDataLst>
          </p:nvPr>
        </p:nvCxnSpPr>
        <p:spPr bwMode="auto">
          <a:xfrm>
            <a:off x="6235700" y="4991100"/>
            <a:ext cx="0" cy="23971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</p:cxnSp>
      <p:cxnSp>
        <p:nvCxnSpPr>
          <p:cNvPr id="228" name="Straight Connector 231">
            <a:extLst>
              <a:ext uri="{FF2B5EF4-FFF2-40B4-BE49-F238E27FC236}">
                <a16:creationId xmlns:a16="http://schemas.microsoft.com/office/drawing/2014/main" id="{82AB3160-D118-BC74-C48B-D7F3FFEC96FF}"/>
              </a:ext>
            </a:extLst>
          </p:cNvPr>
          <p:cNvCxnSpPr/>
          <p:nvPr>
            <p:custDataLst>
              <p:tags r:id="rId64"/>
            </p:custDataLst>
          </p:nvPr>
        </p:nvCxnSpPr>
        <p:spPr bwMode="auto">
          <a:xfrm>
            <a:off x="6719888" y="4979988"/>
            <a:ext cx="269875" cy="0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229" name="Straight Connector 233">
            <a:extLst>
              <a:ext uri="{FF2B5EF4-FFF2-40B4-BE49-F238E27FC236}">
                <a16:creationId xmlns:a16="http://schemas.microsoft.com/office/drawing/2014/main" id="{F107000D-9946-E750-3A69-7FEA12875A8D}"/>
              </a:ext>
            </a:extLst>
          </p:cNvPr>
          <p:cNvCxnSpPr/>
          <p:nvPr>
            <p:custDataLst>
              <p:tags r:id="rId65"/>
            </p:custDataLst>
          </p:nvPr>
        </p:nvCxnSpPr>
        <p:spPr bwMode="auto">
          <a:xfrm flipV="1">
            <a:off x="6719888" y="4979989"/>
            <a:ext cx="0" cy="16986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230" name="Straight Connector 232">
            <a:extLst>
              <a:ext uri="{FF2B5EF4-FFF2-40B4-BE49-F238E27FC236}">
                <a16:creationId xmlns:a16="http://schemas.microsoft.com/office/drawing/2014/main" id="{5D3DFEF6-5CE9-7460-5814-B9F2474CCD2E}"/>
              </a:ext>
            </a:extLst>
          </p:cNvPr>
          <p:cNvCxnSpPr/>
          <p:nvPr>
            <p:custDataLst>
              <p:tags r:id="rId66"/>
            </p:custDataLst>
          </p:nvPr>
        </p:nvCxnSpPr>
        <p:spPr bwMode="auto">
          <a:xfrm>
            <a:off x="6989763" y="4979988"/>
            <a:ext cx="0" cy="23971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sm" len="sm"/>
            <a:tailEnd type="triangle" w="med" len="med"/>
          </a:ln>
          <a:effectLst/>
        </p:spPr>
      </p:cxnSp>
      <p:cxnSp>
        <p:nvCxnSpPr>
          <p:cNvPr id="231" name="Straight Connector 239">
            <a:extLst>
              <a:ext uri="{FF2B5EF4-FFF2-40B4-BE49-F238E27FC236}">
                <a16:creationId xmlns:a16="http://schemas.microsoft.com/office/drawing/2014/main" id="{514D05E2-0DBE-7ACC-0FE2-9AB650839F26}"/>
              </a:ext>
            </a:extLst>
          </p:cNvPr>
          <p:cNvCxnSpPr/>
          <p:nvPr>
            <p:custDataLst>
              <p:tags r:id="rId67"/>
            </p:custDataLst>
          </p:nvPr>
        </p:nvCxnSpPr>
        <p:spPr bwMode="auto">
          <a:xfrm>
            <a:off x="8499475" y="4905375"/>
            <a:ext cx="0" cy="23971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sm" len="sm"/>
            <a:tailEnd type="triangle" w="med" len="med"/>
          </a:ln>
          <a:effectLst/>
        </p:spPr>
      </p:cxnSp>
      <p:cxnSp>
        <p:nvCxnSpPr>
          <p:cNvPr id="232" name="Straight Connector 238">
            <a:extLst>
              <a:ext uri="{FF2B5EF4-FFF2-40B4-BE49-F238E27FC236}">
                <a16:creationId xmlns:a16="http://schemas.microsoft.com/office/drawing/2014/main" id="{5C3C903F-07C8-B33A-1F7B-BA2C419F0196}"/>
              </a:ext>
            </a:extLst>
          </p:cNvPr>
          <p:cNvCxnSpPr/>
          <p:nvPr>
            <p:custDataLst>
              <p:tags r:id="rId68"/>
            </p:custDataLst>
          </p:nvPr>
        </p:nvCxnSpPr>
        <p:spPr bwMode="auto">
          <a:xfrm>
            <a:off x="8229600" y="4905375"/>
            <a:ext cx="269875" cy="0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233" name="Straight Connector 237">
            <a:extLst>
              <a:ext uri="{FF2B5EF4-FFF2-40B4-BE49-F238E27FC236}">
                <a16:creationId xmlns:a16="http://schemas.microsoft.com/office/drawing/2014/main" id="{3F35B015-C220-A1F0-CA94-406A730830D6}"/>
              </a:ext>
            </a:extLst>
          </p:cNvPr>
          <p:cNvCxnSpPr/>
          <p:nvPr>
            <p:custDataLst>
              <p:tags r:id="rId69"/>
            </p:custDataLst>
          </p:nvPr>
        </p:nvCxnSpPr>
        <p:spPr bwMode="auto">
          <a:xfrm flipV="1">
            <a:off x="8229600" y="4905376"/>
            <a:ext cx="0" cy="20796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234" name="Straight Connector 82">
            <a:extLst>
              <a:ext uri="{FF2B5EF4-FFF2-40B4-BE49-F238E27FC236}">
                <a16:creationId xmlns:a16="http://schemas.microsoft.com/office/drawing/2014/main" id="{B82666C8-A92B-5B12-6907-9B1E05FB0DC0}"/>
              </a:ext>
            </a:extLst>
          </p:cNvPr>
          <p:cNvCxnSpPr/>
          <p:nvPr>
            <p:custDataLst>
              <p:tags r:id="rId70"/>
            </p:custDataLst>
          </p:nvPr>
        </p:nvCxnSpPr>
        <p:spPr bwMode="auto">
          <a:xfrm>
            <a:off x="10763250" y="3916363"/>
            <a:ext cx="0" cy="255588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235" name="Straight Connector 80">
            <a:extLst>
              <a:ext uri="{FF2B5EF4-FFF2-40B4-BE49-F238E27FC236}">
                <a16:creationId xmlns:a16="http://schemas.microsoft.com/office/drawing/2014/main" id="{EA818DB6-F204-C713-DA53-2CE8A7C0D893}"/>
              </a:ext>
            </a:extLst>
          </p:cNvPr>
          <p:cNvCxnSpPr/>
          <p:nvPr>
            <p:custDataLst>
              <p:tags r:id="rId71"/>
            </p:custDataLst>
          </p:nvPr>
        </p:nvCxnSpPr>
        <p:spPr bwMode="auto">
          <a:xfrm flipV="1">
            <a:off x="10493375" y="3916363"/>
            <a:ext cx="0" cy="16351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6" name="Straight Connector 81">
            <a:extLst>
              <a:ext uri="{FF2B5EF4-FFF2-40B4-BE49-F238E27FC236}">
                <a16:creationId xmlns:a16="http://schemas.microsoft.com/office/drawing/2014/main" id="{875774EB-7514-536D-60E3-05AAB956C2B5}"/>
              </a:ext>
            </a:extLst>
          </p:cNvPr>
          <p:cNvCxnSpPr/>
          <p:nvPr>
            <p:custDataLst>
              <p:tags r:id="rId72"/>
            </p:custDataLst>
          </p:nvPr>
        </p:nvCxnSpPr>
        <p:spPr bwMode="auto">
          <a:xfrm>
            <a:off x="10493375" y="3916363"/>
            <a:ext cx="269875" cy="0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7" name="Straight Connector 240">
            <a:extLst>
              <a:ext uri="{FF2B5EF4-FFF2-40B4-BE49-F238E27FC236}">
                <a16:creationId xmlns:a16="http://schemas.microsoft.com/office/drawing/2014/main" id="{5E8C0B8F-EFE6-51F6-4778-F12E40A5F49D}"/>
              </a:ext>
            </a:extLst>
          </p:cNvPr>
          <p:cNvCxnSpPr/>
          <p:nvPr>
            <p:custDataLst>
              <p:tags r:id="rId73"/>
            </p:custDataLst>
          </p:nvPr>
        </p:nvCxnSpPr>
        <p:spPr bwMode="auto">
          <a:xfrm flipV="1">
            <a:off x="11247438" y="4557714"/>
            <a:ext cx="0" cy="20796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8" name="Straight Connector 241">
            <a:extLst>
              <a:ext uri="{FF2B5EF4-FFF2-40B4-BE49-F238E27FC236}">
                <a16:creationId xmlns:a16="http://schemas.microsoft.com/office/drawing/2014/main" id="{D6544B79-A5F2-5BA0-5C3D-5F6C56208D81}"/>
              </a:ext>
            </a:extLst>
          </p:cNvPr>
          <p:cNvCxnSpPr>
            <a:cxnSpLocks/>
          </p:cNvCxnSpPr>
          <p:nvPr>
            <p:custDataLst>
              <p:tags r:id="rId74"/>
            </p:custDataLst>
          </p:nvPr>
        </p:nvCxnSpPr>
        <p:spPr bwMode="auto">
          <a:xfrm>
            <a:off x="11247438" y="4557713"/>
            <a:ext cx="269875" cy="0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9" name="Straight Connector 242">
            <a:extLst>
              <a:ext uri="{FF2B5EF4-FFF2-40B4-BE49-F238E27FC236}">
                <a16:creationId xmlns:a16="http://schemas.microsoft.com/office/drawing/2014/main" id="{D9B4848A-44D8-70A2-F3E5-397F9596C4D5}"/>
              </a:ext>
            </a:extLst>
          </p:cNvPr>
          <p:cNvCxnSpPr/>
          <p:nvPr>
            <p:custDataLst>
              <p:tags r:id="rId75"/>
            </p:custDataLst>
          </p:nvPr>
        </p:nvCxnSpPr>
        <p:spPr bwMode="auto">
          <a:xfrm>
            <a:off x="11517313" y="4557713"/>
            <a:ext cx="0" cy="23971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240" name="Text Placeholder 2">
            <a:extLst>
              <a:ext uri="{FF2B5EF4-FFF2-40B4-BE49-F238E27FC236}">
                <a16:creationId xmlns:a16="http://schemas.microsoft.com/office/drawing/2014/main" id="{B43134AB-155B-AA79-B644-4241264D4F17}"/>
              </a:ext>
            </a:extLst>
          </p:cNvPr>
          <p:cNvSpPr>
            <a:spLocks noGrp="1"/>
          </p:cNvSpPr>
          <p:nvPr>
            <p:custDataLst>
              <p:tags r:id="rId76"/>
            </p:custDataLst>
          </p:nvPr>
        </p:nvSpPr>
        <p:spPr bwMode="auto">
          <a:xfrm>
            <a:off x="2159000" y="5514975"/>
            <a:ext cx="3365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A77F6A9-1AC1-4A08-B1A0-192D8CA1DB11}" type="datetime'ML''''''''''''''''''''''''''''''''''X''''''1''1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LX11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1" name="Text Placeholder 2">
            <a:extLst>
              <a:ext uri="{FF2B5EF4-FFF2-40B4-BE49-F238E27FC236}">
                <a16:creationId xmlns:a16="http://schemas.microsoft.com/office/drawing/2014/main" id="{2F9750F1-F13A-DD3F-3EFF-2FBF731B7074}"/>
              </a:ext>
            </a:extLst>
          </p:cNvPr>
          <p:cNvSpPr>
            <a:spLocks noGrp="1"/>
          </p:cNvSpPr>
          <p:nvPr>
            <p:custDataLst>
              <p:tags r:id="rId77"/>
            </p:custDataLst>
          </p:nvPr>
        </p:nvSpPr>
        <p:spPr bwMode="auto">
          <a:xfrm>
            <a:off x="2914650" y="5514975"/>
            <a:ext cx="3365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641E5F2-957A-42AE-BF62-6F09F6B6D9AB}" type="datetime'''M''''''L''''''''''''''X''''''''''1''2''''''''''''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LX12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2" name="Text Placeholder 2">
            <a:extLst>
              <a:ext uri="{FF2B5EF4-FFF2-40B4-BE49-F238E27FC236}">
                <a16:creationId xmlns:a16="http://schemas.microsoft.com/office/drawing/2014/main" id="{40E90E22-274A-A563-70A8-629CCF23B400}"/>
              </a:ext>
            </a:extLst>
          </p:cNvPr>
          <p:cNvSpPr>
            <a:spLocks noGrp="1"/>
          </p:cNvSpPr>
          <p:nvPr>
            <p:custDataLst>
              <p:tags r:id="rId78"/>
            </p:custDataLst>
          </p:nvPr>
        </p:nvSpPr>
        <p:spPr bwMode="auto">
          <a:xfrm>
            <a:off x="3668713" y="5514975"/>
            <a:ext cx="3365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377FC23-147D-4D25-9840-DF4BD76911D8}" type="datetime'''''''''''''''''''''''ML''''X''''''''''''1''''3''''''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LX13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3" name="Text Placeholder 2">
            <a:extLst>
              <a:ext uri="{FF2B5EF4-FFF2-40B4-BE49-F238E27FC236}">
                <a16:creationId xmlns:a16="http://schemas.microsoft.com/office/drawing/2014/main" id="{ABD7DB4F-9F5F-5B57-C3CD-D45BC93D4C51}"/>
              </a:ext>
            </a:extLst>
          </p:cNvPr>
          <p:cNvSpPr>
            <a:spLocks noGrp="1"/>
          </p:cNvSpPr>
          <p:nvPr>
            <p:custDataLst>
              <p:tags r:id="rId79"/>
            </p:custDataLst>
          </p:nvPr>
        </p:nvSpPr>
        <p:spPr bwMode="auto">
          <a:xfrm>
            <a:off x="4422775" y="5514975"/>
            <a:ext cx="3365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E5BD6D5-F163-4AB9-8BBD-6B916B237B01}" type="datetime'ML''''''''''''''''''''''''''''''''''X1''''''''''''4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LX14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4" name="Text Placeholder 2">
            <a:extLst>
              <a:ext uri="{FF2B5EF4-FFF2-40B4-BE49-F238E27FC236}">
                <a16:creationId xmlns:a16="http://schemas.microsoft.com/office/drawing/2014/main" id="{AC7BB2E7-B385-13ED-9ED6-6DCAFB438CD4}"/>
              </a:ext>
            </a:extLst>
          </p:cNvPr>
          <p:cNvSpPr>
            <a:spLocks noGrp="1"/>
          </p:cNvSpPr>
          <p:nvPr>
            <p:custDataLst>
              <p:tags r:id="rId80"/>
            </p:custDataLst>
          </p:nvPr>
        </p:nvSpPr>
        <p:spPr bwMode="auto">
          <a:xfrm>
            <a:off x="5181600" y="5514975"/>
            <a:ext cx="3302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A59F469-58BD-443A-A2DA-7E22B588C282}" type="datetime'''''M''''''''''''''''''''L''Z''''''''1''''''''''''5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LZ15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5" name="Text Placeholder 2">
            <a:extLst>
              <a:ext uri="{FF2B5EF4-FFF2-40B4-BE49-F238E27FC236}">
                <a16:creationId xmlns:a16="http://schemas.microsoft.com/office/drawing/2014/main" id="{CFA551D1-06E7-F91F-5790-B7C5F767D08E}"/>
              </a:ext>
            </a:extLst>
          </p:cNvPr>
          <p:cNvSpPr>
            <a:spLocks noGrp="1"/>
          </p:cNvSpPr>
          <p:nvPr>
            <p:custDataLst>
              <p:tags r:id="rId81"/>
            </p:custDataLst>
          </p:nvPr>
        </p:nvSpPr>
        <p:spPr bwMode="auto">
          <a:xfrm>
            <a:off x="6689725" y="5514975"/>
            <a:ext cx="3302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CBB570D-E79F-4124-BB7F-136E0BF37F02}" type="datetime'''''''''''''''''''''M''''L''''''''''''''Z''''''''''17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LZ17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6" name="Text Placeholder 2">
            <a:extLst>
              <a:ext uri="{FF2B5EF4-FFF2-40B4-BE49-F238E27FC236}">
                <a16:creationId xmlns:a16="http://schemas.microsoft.com/office/drawing/2014/main" id="{9C652F8A-BE4C-3BE9-9341-EF22574F3B2C}"/>
              </a:ext>
            </a:extLst>
          </p:cNvPr>
          <p:cNvSpPr>
            <a:spLocks noGrp="1"/>
          </p:cNvSpPr>
          <p:nvPr>
            <p:custDataLst>
              <p:tags r:id="rId82"/>
            </p:custDataLst>
          </p:nvPr>
        </p:nvSpPr>
        <p:spPr bwMode="auto">
          <a:xfrm>
            <a:off x="11217275" y="5514975"/>
            <a:ext cx="3302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ED2A390-EF23-48BC-8565-C335FB2B2886}" type="datetime'''''''''''''''''M''L''''''''''''''''''''''''Z''2''''3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LZ23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7" name="Text Placeholder 2">
            <a:extLst>
              <a:ext uri="{FF2B5EF4-FFF2-40B4-BE49-F238E27FC236}">
                <a16:creationId xmlns:a16="http://schemas.microsoft.com/office/drawing/2014/main" id="{9ABF269C-A45E-F78F-6C89-17D473CA4E1F}"/>
              </a:ext>
            </a:extLst>
          </p:cNvPr>
          <p:cNvSpPr>
            <a:spLocks noGrp="1"/>
          </p:cNvSpPr>
          <p:nvPr>
            <p:custDataLst>
              <p:tags r:id="rId83"/>
            </p:custDataLst>
          </p:nvPr>
        </p:nvSpPr>
        <p:spPr bwMode="auto">
          <a:xfrm>
            <a:off x="10463213" y="5514975"/>
            <a:ext cx="3302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191EBE2-70B4-4F42-A238-4FF1345C3BE8}" type="datetime'''ML''''''''''''''''''''''''Z''''''''''2''''2''''''''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LZ22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8" name="Text Placeholder 2">
            <a:extLst>
              <a:ext uri="{FF2B5EF4-FFF2-40B4-BE49-F238E27FC236}">
                <a16:creationId xmlns:a16="http://schemas.microsoft.com/office/drawing/2014/main" id="{01B82A1C-5208-AA25-5431-821EF97B7CE6}"/>
              </a:ext>
            </a:extLst>
          </p:cNvPr>
          <p:cNvSpPr>
            <a:spLocks noGrp="1"/>
          </p:cNvSpPr>
          <p:nvPr>
            <p:custDataLst>
              <p:tags r:id="rId84"/>
            </p:custDataLst>
          </p:nvPr>
        </p:nvSpPr>
        <p:spPr bwMode="auto">
          <a:xfrm>
            <a:off x="9707563" y="5514975"/>
            <a:ext cx="3302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F277BB4-6D22-425A-B9F5-3B24F1EF3150}" type="datetime'M''''''''L''''''''''''''Z''''2''''''''''''''''''''''1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LZ21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9" name="Text Placeholder 2">
            <a:extLst>
              <a:ext uri="{FF2B5EF4-FFF2-40B4-BE49-F238E27FC236}">
                <a16:creationId xmlns:a16="http://schemas.microsoft.com/office/drawing/2014/main" id="{C183C978-CEDB-F4BA-A36F-31249679FFF9}"/>
              </a:ext>
            </a:extLst>
          </p:cNvPr>
          <p:cNvSpPr>
            <a:spLocks noGrp="1"/>
          </p:cNvSpPr>
          <p:nvPr>
            <p:custDataLst>
              <p:tags r:id="rId85"/>
            </p:custDataLst>
          </p:nvPr>
        </p:nvSpPr>
        <p:spPr bwMode="auto">
          <a:xfrm>
            <a:off x="8953500" y="5514975"/>
            <a:ext cx="3302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3D55331-E6C5-477A-8471-DF3176348EB5}" type="datetime'''''''''''M''''''L''''''''''''''Z''''''2''''''''''0''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LZ20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0" name="Text Placeholder 2">
            <a:extLst>
              <a:ext uri="{FF2B5EF4-FFF2-40B4-BE49-F238E27FC236}">
                <a16:creationId xmlns:a16="http://schemas.microsoft.com/office/drawing/2014/main" id="{E5CF5124-AAEC-B813-210D-ABCAB75D82F0}"/>
              </a:ext>
            </a:extLst>
          </p:cNvPr>
          <p:cNvSpPr>
            <a:spLocks noGrp="1"/>
          </p:cNvSpPr>
          <p:nvPr>
            <p:custDataLst>
              <p:tags r:id="rId86"/>
            </p:custDataLst>
          </p:nvPr>
        </p:nvSpPr>
        <p:spPr bwMode="auto">
          <a:xfrm>
            <a:off x="8199438" y="5514975"/>
            <a:ext cx="3302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22C4ADB-097D-4EA7-BF17-D19EE94BEBE0}" type="datetime'''''''''M''''''''''''''''''''''''''''LZ''''''''''''''''1''''9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LZ19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1" name="Text Placeholder 2">
            <a:extLst>
              <a:ext uri="{FF2B5EF4-FFF2-40B4-BE49-F238E27FC236}">
                <a16:creationId xmlns:a16="http://schemas.microsoft.com/office/drawing/2014/main" id="{1CCD7726-CBB8-9368-97E2-457339E0FE3D}"/>
              </a:ext>
            </a:extLst>
          </p:cNvPr>
          <p:cNvSpPr>
            <a:spLocks noGrp="1"/>
          </p:cNvSpPr>
          <p:nvPr>
            <p:custDataLst>
              <p:tags r:id="rId87"/>
            </p:custDataLst>
          </p:nvPr>
        </p:nvSpPr>
        <p:spPr bwMode="auto">
          <a:xfrm>
            <a:off x="5935663" y="5514975"/>
            <a:ext cx="3302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C668E5A-BED8-4375-9765-0BB9A21ECC5B}" type="datetime'''''ML''''Z''''''''''''''1''''''6''''''''''''''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LZ16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2" name="Text Placeholder 2">
            <a:extLst>
              <a:ext uri="{FF2B5EF4-FFF2-40B4-BE49-F238E27FC236}">
                <a16:creationId xmlns:a16="http://schemas.microsoft.com/office/drawing/2014/main" id="{9259D45D-63DE-328C-766B-D5DC84F1D2AA}"/>
              </a:ext>
            </a:extLst>
          </p:cNvPr>
          <p:cNvSpPr>
            <a:spLocks noGrp="1"/>
          </p:cNvSpPr>
          <p:nvPr>
            <p:custDataLst>
              <p:tags r:id="rId88"/>
            </p:custDataLst>
          </p:nvPr>
        </p:nvSpPr>
        <p:spPr bwMode="auto">
          <a:xfrm>
            <a:off x="7443788" y="5514975"/>
            <a:ext cx="3302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CAE27DB-EE38-4756-82B0-AECB18F23647}" type="datetime'''''''''''M''''''''''''''LZ''''''''1''8''''''''''''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LZ18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3" name="Text Placeholder 2">
            <a:extLst>
              <a:ext uri="{FF2B5EF4-FFF2-40B4-BE49-F238E27FC236}">
                <a16:creationId xmlns:a16="http://schemas.microsoft.com/office/drawing/2014/main" id="{817D4828-C1A6-2987-9091-EEAA56AF1320}"/>
              </a:ext>
            </a:extLst>
          </p:cNvPr>
          <p:cNvSpPr>
            <a:spLocks noGrp="1"/>
          </p:cNvSpPr>
          <p:nvPr>
            <p:custDataLst>
              <p:tags r:id="rId89"/>
            </p:custDataLst>
          </p:nvPr>
        </p:nvSpPr>
        <p:spPr bwMode="auto">
          <a:xfrm>
            <a:off x="1712912" y="3781425"/>
            <a:ext cx="4762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UR / Ton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4" name="Google Shape;11;p28">
            <a:extLst>
              <a:ext uri="{FF2B5EF4-FFF2-40B4-BE49-F238E27FC236}">
                <a16:creationId xmlns:a16="http://schemas.microsoft.com/office/drawing/2014/main" id="{0461B4F1-182B-E5C5-B5E3-81C43C8B0560}"/>
              </a:ext>
            </a:extLst>
          </p:cNvPr>
          <p:cNvSpPr txBox="1">
            <a:spLocks noGrp="1"/>
          </p:cNvSpPr>
          <p:nvPr>
            <p:custDataLst>
              <p:tags r:id="rId90"/>
            </p:custDataLst>
          </p:nvPr>
        </p:nvSpPr>
        <p:spPr bwMode="auto">
          <a:xfrm>
            <a:off x="2098675" y="4691063"/>
            <a:ext cx="458788" cy="173038"/>
          </a:xfrm>
          <a:prstGeom prst="ellipse">
            <a:avLst/>
          </a:prstGeom>
          <a:solidFill>
            <a:srgbClr val="010A19"/>
          </a:solidFill>
          <a:ln w="9525" cmpd="sng" algn="ctr">
            <a:solidFill>
              <a:srgbClr val="00004B"/>
            </a:solidFill>
          </a:ln>
          <a:effectLst/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706B3FB4-3A4C-4B26-94A3-C652D33F6F8E}" type="datetime'''''''''-1''''''''0'''''''',''''''''''''''''''''''''''2''''%'">
              <a:rPr kumimoji="0" lang="en-US" altLang="en-US" sz="800" b="1" i="0" u="none" strike="noStrike" kern="0" cap="none" spc="0" normalizeH="0" baseline="0" noProof="0" smtClean="0">
                <a:ln>
                  <a:noFill/>
                </a:ln>
                <a:solidFill>
                  <a:srgbClr val="73DC78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-10,2%</a:t>
            </a:fld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73DC78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55" name="Text Placeholder 2">
            <a:extLst>
              <a:ext uri="{FF2B5EF4-FFF2-40B4-BE49-F238E27FC236}">
                <a16:creationId xmlns:a16="http://schemas.microsoft.com/office/drawing/2014/main" id="{95624CCF-D8DC-B9B7-E037-E9C0BE61CFD1}"/>
              </a:ext>
            </a:extLst>
          </p:cNvPr>
          <p:cNvSpPr>
            <a:spLocks noGrp="1"/>
          </p:cNvSpPr>
          <p:nvPr>
            <p:custDataLst>
              <p:tags r:id="rId91"/>
            </p:custDataLst>
          </p:nvPr>
        </p:nvSpPr>
        <p:spPr bwMode="auto">
          <a:xfrm>
            <a:off x="3648075" y="4708525"/>
            <a:ext cx="377825" cy="173038"/>
          </a:xfrm>
          <a:prstGeom prst="ellipse">
            <a:avLst/>
          </a:prstGeom>
          <a:solidFill>
            <a:srgbClr val="010A19"/>
          </a:solidFill>
          <a:ln w="9525" algn="ctr">
            <a:solidFill>
              <a:srgbClr val="00004B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3157462-A0AF-43B8-9F56-11FE13C1C4B3}" type="datetime'''''''''-''1'''''''''''''''''''',''''''''''''''''''''0%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73DC7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-1,0%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73DC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6" name="Text Placeholder 2">
            <a:extLst>
              <a:ext uri="{FF2B5EF4-FFF2-40B4-BE49-F238E27FC236}">
                <a16:creationId xmlns:a16="http://schemas.microsoft.com/office/drawing/2014/main" id="{3EB9BE57-0D59-9E9C-5518-25BEA7664829}"/>
              </a:ext>
            </a:extLst>
          </p:cNvPr>
          <p:cNvSpPr>
            <a:spLocks noGrp="1"/>
          </p:cNvSpPr>
          <p:nvPr>
            <p:custDataLst>
              <p:tags r:id="rId92"/>
            </p:custDataLst>
          </p:nvPr>
        </p:nvSpPr>
        <p:spPr bwMode="auto">
          <a:xfrm>
            <a:off x="4362450" y="4838700"/>
            <a:ext cx="458788" cy="173038"/>
          </a:xfrm>
          <a:prstGeom prst="ellipse">
            <a:avLst/>
          </a:prstGeom>
          <a:solidFill>
            <a:srgbClr val="010A19"/>
          </a:solidFill>
          <a:ln w="9525" algn="ctr">
            <a:solidFill>
              <a:srgbClr val="00004B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6880727-6FD4-4724-97A8-A451A055ADF8}" type="datetime'''-''1''''''''''''3,''''''8''''''%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73DC7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-13,8%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73DC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7" name="Oval 259">
            <a:extLst>
              <a:ext uri="{FF2B5EF4-FFF2-40B4-BE49-F238E27FC236}">
                <a16:creationId xmlns:a16="http://schemas.microsoft.com/office/drawing/2014/main" id="{CB45B708-F1A1-6468-4CC7-C727626AED5E}"/>
              </a:ext>
            </a:extLst>
          </p:cNvPr>
          <p:cNvSpPr>
            <a:spLocks noGrp="1" noChangeArrowheads="1"/>
          </p:cNvSpPr>
          <p:nvPr>
            <p:custDataLst>
              <p:tags r:id="rId93"/>
            </p:custDataLst>
          </p:nvPr>
        </p:nvSpPr>
        <p:spPr bwMode="auto">
          <a:xfrm>
            <a:off x="5157788" y="4822825"/>
            <a:ext cx="377825" cy="173038"/>
          </a:xfrm>
          <a:prstGeom prst="ellipse">
            <a:avLst/>
          </a:prstGeom>
          <a:solidFill>
            <a:srgbClr val="010A19"/>
          </a:solidFill>
          <a:ln w="9525" algn="ctr">
            <a:solidFill>
              <a:srgbClr val="00004B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85750" indent="-285750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●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76275" indent="-276225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2pPr>
            <a:lvl3pPr marL="1144588" indent="-287338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1619250" indent="-295275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4pPr>
            <a:lvl5pPr marL="2093913" indent="-295275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Char char="•"/>
              <a:defRPr sz="1800">
                <a:solidFill>
                  <a:schemeClr val="tx1"/>
                </a:solidFill>
                <a:latin typeface="+mn-lt"/>
              </a:defRPr>
            </a:lvl5pPr>
            <a:lvl6pPr marL="25511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30083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34655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9227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7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3DC78"/>
              </a:buClr>
              <a:buSzTx/>
              <a:buFont typeface="Arial" charset="0"/>
              <a:buNone/>
              <a:tabLst/>
              <a:defRPr/>
            </a:pPr>
            <a:fld id="{4EF6CF46-7199-4384-B5DF-E33C2410BA24}" type="datetime'''''''-''''''6'''''''''''''''''''''''''',''''4''''''%'''''">
              <a:rPr kumimoji="0" lang="en-US" altLang="en-US" sz="800" b="1" i="0" u="none" strike="noStrike" kern="0" cap="none" spc="0" normalizeH="0" baseline="0" noProof="0" smtClean="0">
                <a:ln>
                  <a:noFill/>
                </a:ln>
                <a:solidFill>
                  <a:srgbClr val="73DC7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572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DC78"/>
                </a:buClr>
                <a:buSzTx/>
                <a:buFont typeface="Arial" charset="0"/>
                <a:buNone/>
                <a:tabLst/>
                <a:defRPr/>
              </a:pPr>
              <a:t>-6,4%</a:t>
            </a:fld>
            <a:endParaRPr kumimoji="0" lang="en-US" altLang="en-US" sz="800" b="1" i="0" u="none" strike="noStrike" kern="0" cap="none" spc="0" normalizeH="0" baseline="0" noProof="0">
              <a:ln>
                <a:noFill/>
              </a:ln>
              <a:solidFill>
                <a:srgbClr val="73DC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8" name="Text Placeholder 2">
            <a:extLst>
              <a:ext uri="{FF2B5EF4-FFF2-40B4-BE49-F238E27FC236}">
                <a16:creationId xmlns:a16="http://schemas.microsoft.com/office/drawing/2014/main" id="{1A80232A-155C-752C-CA2F-0289CAA11FDB}"/>
              </a:ext>
            </a:extLst>
          </p:cNvPr>
          <p:cNvSpPr>
            <a:spLocks noGrp="1"/>
          </p:cNvSpPr>
          <p:nvPr>
            <p:custDataLst>
              <p:tags r:id="rId94"/>
            </p:custDataLst>
          </p:nvPr>
        </p:nvSpPr>
        <p:spPr bwMode="auto">
          <a:xfrm>
            <a:off x="5911850" y="4905375"/>
            <a:ext cx="377825" cy="173038"/>
          </a:xfrm>
          <a:prstGeom prst="ellipse">
            <a:avLst/>
          </a:prstGeom>
          <a:solidFill>
            <a:srgbClr val="010A19"/>
          </a:solidFill>
          <a:ln w="9525" algn="ctr">
            <a:solidFill>
              <a:srgbClr val="00004B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EDFF6D8-74F3-4161-9421-1E02A9D406FC}" type="datetime'''''''''''''''''''''-''4,''''''''''''''''1''''''''''''''%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73DC7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-4,1%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73DC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9" name="Oval 261">
            <a:extLst>
              <a:ext uri="{FF2B5EF4-FFF2-40B4-BE49-F238E27FC236}">
                <a16:creationId xmlns:a16="http://schemas.microsoft.com/office/drawing/2014/main" id="{ADBB47E8-F756-3A39-13B8-8F937D572789}"/>
              </a:ext>
            </a:extLst>
          </p:cNvPr>
          <p:cNvSpPr>
            <a:spLocks noGrp="1" noChangeArrowheads="1"/>
          </p:cNvSpPr>
          <p:nvPr>
            <p:custDataLst>
              <p:tags r:id="rId95"/>
            </p:custDataLst>
          </p:nvPr>
        </p:nvSpPr>
        <p:spPr bwMode="auto">
          <a:xfrm>
            <a:off x="6665913" y="4894263"/>
            <a:ext cx="377825" cy="173038"/>
          </a:xfrm>
          <a:prstGeom prst="ellipse">
            <a:avLst/>
          </a:prstGeom>
          <a:solidFill>
            <a:srgbClr val="010A19"/>
          </a:solidFill>
          <a:ln w="9525" algn="ctr">
            <a:solidFill>
              <a:srgbClr val="00004B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85750" indent="-285750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●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76275" indent="-276225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2pPr>
            <a:lvl3pPr marL="1144588" indent="-287338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1619250" indent="-295275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4pPr>
            <a:lvl5pPr marL="2093913" indent="-295275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Char char="•"/>
              <a:defRPr sz="1800">
                <a:solidFill>
                  <a:schemeClr val="tx1"/>
                </a:solidFill>
                <a:latin typeface="+mn-lt"/>
              </a:defRPr>
            </a:lvl5pPr>
            <a:lvl6pPr marL="25511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30083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34655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9227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7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3DC78"/>
              </a:buClr>
              <a:buSzTx/>
              <a:buFont typeface="Arial" charset="0"/>
              <a:buNone/>
              <a:tabLst/>
              <a:defRPr/>
            </a:pPr>
            <a:fld id="{E163B97B-B55F-484F-AFF5-FA28297AAC66}" type="datetime'''''''''''''''''-6'''''',9''%'''''''''''''''''''''''''''''">
              <a:rPr kumimoji="0" lang="en-US" altLang="en-US" sz="800" b="1" i="0" u="none" strike="noStrike" kern="0" cap="none" spc="0" normalizeH="0" baseline="0" noProof="0" smtClean="0">
                <a:ln>
                  <a:noFill/>
                </a:ln>
                <a:solidFill>
                  <a:srgbClr val="73DC7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572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DC78"/>
                </a:buClr>
                <a:buSzTx/>
                <a:buFont typeface="Arial" charset="0"/>
                <a:buNone/>
                <a:tabLst/>
                <a:defRPr/>
              </a:pPr>
              <a:t>-6,9%</a:t>
            </a:fld>
            <a:endParaRPr kumimoji="0" lang="en-US" altLang="en-US" sz="800" b="1" i="0" u="none" strike="noStrike" kern="0" cap="none" spc="0" normalizeH="0" baseline="0" noProof="0">
              <a:ln>
                <a:noFill/>
              </a:ln>
              <a:solidFill>
                <a:srgbClr val="73DC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0" name="Oval 263">
            <a:extLst>
              <a:ext uri="{FF2B5EF4-FFF2-40B4-BE49-F238E27FC236}">
                <a16:creationId xmlns:a16="http://schemas.microsoft.com/office/drawing/2014/main" id="{DFFDC266-C739-78C9-CA7E-8B7D4403CEDE}"/>
              </a:ext>
            </a:extLst>
          </p:cNvPr>
          <p:cNvSpPr>
            <a:spLocks noGrp="1" noChangeArrowheads="1"/>
          </p:cNvSpPr>
          <p:nvPr>
            <p:custDataLst>
              <p:tags r:id="rId96"/>
            </p:custDataLst>
          </p:nvPr>
        </p:nvSpPr>
        <p:spPr bwMode="auto">
          <a:xfrm>
            <a:off x="8175625" y="4819650"/>
            <a:ext cx="377825" cy="173038"/>
          </a:xfrm>
          <a:prstGeom prst="ellipse">
            <a:avLst/>
          </a:prstGeom>
          <a:solidFill>
            <a:srgbClr val="010A19"/>
          </a:solidFill>
          <a:ln w="9525" algn="ctr">
            <a:solidFill>
              <a:srgbClr val="00004B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85750" indent="-285750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●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76275" indent="-276225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2pPr>
            <a:lvl3pPr marL="1144588" indent="-287338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1619250" indent="-295275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4pPr>
            <a:lvl5pPr marL="2093913" indent="-295275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Char char="•"/>
              <a:defRPr sz="1800">
                <a:solidFill>
                  <a:schemeClr val="tx1"/>
                </a:solidFill>
                <a:latin typeface="+mn-lt"/>
              </a:defRPr>
            </a:lvl5pPr>
            <a:lvl6pPr marL="25511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30083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34655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9227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7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3DC78"/>
              </a:buClr>
              <a:buSzTx/>
              <a:buFont typeface="Arial" charset="0"/>
              <a:buNone/>
              <a:tabLst/>
              <a:defRPr/>
            </a:pPr>
            <a:fld id="{21E2106E-1DF6-4D41-8F33-EFDB2D0223BE}" type="datetime'''''''''-''''''''''''''''''''''3'''',''0''''''''''''''%'''''">
              <a:rPr kumimoji="0" lang="en-US" altLang="en-US" sz="800" b="1" i="0" u="none" strike="noStrike" kern="0" cap="none" spc="0" normalizeH="0" baseline="0" noProof="0" smtClean="0">
                <a:ln>
                  <a:noFill/>
                </a:ln>
                <a:solidFill>
                  <a:srgbClr val="73DC7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572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DC78"/>
                </a:buClr>
                <a:buSzTx/>
                <a:buFont typeface="Arial" charset="0"/>
                <a:buNone/>
                <a:tabLst/>
                <a:defRPr/>
              </a:pPr>
              <a:t>-3,0%</a:t>
            </a:fld>
            <a:endParaRPr kumimoji="0" lang="en-US" altLang="en-US" sz="800" b="1" i="0" u="none" strike="noStrike" kern="0" cap="none" spc="0" normalizeH="0" baseline="0" noProof="0">
              <a:ln>
                <a:noFill/>
              </a:ln>
              <a:solidFill>
                <a:srgbClr val="73DC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1" name="Google Shape;11;p28">
            <a:extLst>
              <a:ext uri="{FF2B5EF4-FFF2-40B4-BE49-F238E27FC236}">
                <a16:creationId xmlns:a16="http://schemas.microsoft.com/office/drawing/2014/main" id="{A848C14A-ED5D-D944-3656-D2342DFB9752}"/>
              </a:ext>
            </a:extLst>
          </p:cNvPr>
          <p:cNvSpPr txBox="1">
            <a:spLocks noGrp="1"/>
          </p:cNvSpPr>
          <p:nvPr>
            <p:custDataLst>
              <p:tags r:id="rId97"/>
            </p:custDataLst>
          </p:nvPr>
        </p:nvSpPr>
        <p:spPr bwMode="auto">
          <a:xfrm>
            <a:off x="10439400" y="3830638"/>
            <a:ext cx="377825" cy="173038"/>
          </a:xfrm>
          <a:prstGeom prst="ellipse">
            <a:avLst/>
          </a:prstGeom>
          <a:solidFill>
            <a:srgbClr val="010A19"/>
          </a:solidFill>
          <a:ln w="9525" cmpd="sng" algn="ctr">
            <a:solidFill>
              <a:srgbClr val="00004B"/>
            </a:solidFill>
          </a:ln>
          <a:effectLst/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E36585E9-20EC-4CEB-97BB-2AA09714E81B}" type="datetime'''''''''-''4'''''''',''''''''''''4%'''''''''''''''''''''''''">
              <a:rPr kumimoji="0" lang="en-US" altLang="en-US" sz="800" b="1" i="0" u="none" strike="noStrike" kern="0" cap="none" spc="0" normalizeH="0" baseline="0" noProof="0" smtClean="0">
                <a:ln>
                  <a:noFill/>
                </a:ln>
                <a:solidFill>
                  <a:srgbClr val="73DC78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-4,4%</a:t>
            </a:fld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73DC78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62" name="Google Shape;11;p28">
            <a:extLst>
              <a:ext uri="{FF2B5EF4-FFF2-40B4-BE49-F238E27FC236}">
                <a16:creationId xmlns:a16="http://schemas.microsoft.com/office/drawing/2014/main" id="{9AAFA9BA-5A1A-76AA-70E0-3CDC821B6E64}"/>
              </a:ext>
            </a:extLst>
          </p:cNvPr>
          <p:cNvSpPr txBox="1">
            <a:spLocks noGrp="1"/>
          </p:cNvSpPr>
          <p:nvPr>
            <p:custDataLst>
              <p:tags r:id="rId98"/>
            </p:custDataLst>
          </p:nvPr>
        </p:nvSpPr>
        <p:spPr bwMode="auto">
          <a:xfrm>
            <a:off x="11193463" y="4471988"/>
            <a:ext cx="377825" cy="173038"/>
          </a:xfrm>
          <a:prstGeom prst="ellipse">
            <a:avLst/>
          </a:prstGeom>
          <a:solidFill>
            <a:srgbClr val="010A19"/>
          </a:solidFill>
          <a:ln w="9525" algn="ctr">
            <a:solidFill>
              <a:srgbClr val="00004B"/>
            </a:solidFill>
          </a:ln>
          <a:effectLst/>
        </p:spPr>
        <p:txBody>
          <a:bodyPr spcFirstLastPara="1" vert="horz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65E99D1-8F4C-4664-BC70-CDBABF13A294}" type="datetime'''''''''''-''''''''''''''''''''''2'',''''''''2''''%'''">
              <a:rPr kumimoji="0" lang="en-US" altLang="en-US" sz="800" b="1" i="0" u="none" strike="noStrike" kern="0" cap="none" spc="0" normalizeH="0" baseline="0" noProof="0" smtClean="0">
                <a:ln>
                  <a:noFill/>
                </a:ln>
                <a:solidFill>
                  <a:srgbClr val="73DC78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-2,2%</a:t>
            </a:fld>
            <a:endParaRPr kumimoji="0" lang="en-US" sz="800" b="1" i="0" u="none" strike="noStrike" kern="0" cap="none" spc="0" normalizeH="0" baseline="0" noProof="0">
              <a:ln>
                <a:noFill/>
              </a:ln>
              <a:solidFill>
                <a:srgbClr val="73DC78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63" name="Rectangle 265">
            <a:extLst>
              <a:ext uri="{FF2B5EF4-FFF2-40B4-BE49-F238E27FC236}">
                <a16:creationId xmlns:a16="http://schemas.microsoft.com/office/drawing/2014/main" id="{3D2021F9-A69A-C5C2-4A46-70E4FB237C9E}"/>
              </a:ext>
            </a:extLst>
          </p:cNvPr>
          <p:cNvSpPr/>
          <p:nvPr/>
        </p:nvSpPr>
        <p:spPr bwMode="auto">
          <a:xfrm>
            <a:off x="3444874" y="3743740"/>
            <a:ext cx="3730380" cy="1745836"/>
          </a:xfrm>
          <a:prstGeom prst="rect">
            <a:avLst/>
          </a:prstGeom>
          <a:noFill/>
          <a:ln w="19050" cap="flat" cmpd="sng" algn="ctr">
            <a:solidFill>
              <a:srgbClr val="0087F1"/>
            </a:solidFill>
            <a:prstDash val="sysDot"/>
            <a:headEnd type="none" w="sm" len="sm"/>
            <a:tailEnd type="none" w="sm" len="sm"/>
          </a:ln>
          <a:effectLst/>
        </p:spPr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defTabSz="9572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F7800"/>
              </a:buClr>
              <a:buSzTx/>
              <a:buFont typeface="Arial" charset="0"/>
              <a:buChar char="●"/>
              <a:tabLst/>
              <a:defRPr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solidFill>
                <a:srgbClr val="62646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64" name="Group 266">
            <a:extLst>
              <a:ext uri="{FF2B5EF4-FFF2-40B4-BE49-F238E27FC236}">
                <a16:creationId xmlns:a16="http://schemas.microsoft.com/office/drawing/2014/main" id="{1A5BD261-B977-0B01-3A03-67911180CD9A}"/>
              </a:ext>
            </a:extLst>
          </p:cNvPr>
          <p:cNvGrpSpPr/>
          <p:nvPr/>
        </p:nvGrpSpPr>
        <p:grpSpPr>
          <a:xfrm>
            <a:off x="5244290" y="3781107"/>
            <a:ext cx="284163" cy="274638"/>
            <a:chOff x="4251860" y="1995798"/>
            <a:chExt cx="509964" cy="509964"/>
          </a:xfrm>
        </p:grpSpPr>
        <p:sp>
          <p:nvSpPr>
            <p:cNvPr id="265" name="Oval 267">
              <a:extLst>
                <a:ext uri="{FF2B5EF4-FFF2-40B4-BE49-F238E27FC236}">
                  <a16:creationId xmlns:a16="http://schemas.microsoft.com/office/drawing/2014/main" id="{17C34F63-9151-878D-583E-B86B5D704605}"/>
                </a:ext>
              </a:extLst>
            </p:cNvPr>
            <p:cNvSpPr/>
            <p:nvPr/>
          </p:nvSpPr>
          <p:spPr>
            <a:xfrm>
              <a:off x="4251860" y="1995798"/>
              <a:ext cx="509964" cy="509964"/>
            </a:xfrm>
            <a:prstGeom prst="ellipse">
              <a:avLst/>
            </a:prstGeom>
            <a:solidFill>
              <a:srgbClr val="0087F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10A1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66" name="Graphic 268">
              <a:extLst>
                <a:ext uri="{FF2B5EF4-FFF2-40B4-BE49-F238E27FC236}">
                  <a16:creationId xmlns:a16="http://schemas.microsoft.com/office/drawing/2014/main" id="{2814693A-8203-A3DA-1788-957DC6D7E1E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7"/>
                </a:ext>
              </a:extLst>
            </a:blip>
            <a:stretch>
              <a:fillRect/>
            </a:stretch>
          </p:blipFill>
          <p:spPr>
            <a:xfrm>
              <a:off x="4388165" y="2121256"/>
              <a:ext cx="237353" cy="237353"/>
            </a:xfrm>
            <a:prstGeom prst="rect">
              <a:avLst/>
            </a:prstGeom>
          </p:spPr>
        </p:pic>
      </p:grpSp>
      <p:sp>
        <p:nvSpPr>
          <p:cNvPr id="267" name="Rectangle 273">
            <a:extLst>
              <a:ext uri="{FF2B5EF4-FFF2-40B4-BE49-F238E27FC236}">
                <a16:creationId xmlns:a16="http://schemas.microsoft.com/office/drawing/2014/main" id="{05B4CD4D-409F-A146-C303-D8BA1938F40E}"/>
              </a:ext>
            </a:extLst>
          </p:cNvPr>
          <p:cNvSpPr/>
          <p:nvPr/>
        </p:nvSpPr>
        <p:spPr bwMode="auto">
          <a:xfrm>
            <a:off x="10220079" y="3743740"/>
            <a:ext cx="1562346" cy="1745836"/>
          </a:xfrm>
          <a:prstGeom prst="rect">
            <a:avLst/>
          </a:prstGeom>
          <a:noFill/>
          <a:ln w="19050" cap="flat" cmpd="sng" algn="ctr">
            <a:solidFill>
              <a:srgbClr val="0087F1"/>
            </a:solidFill>
            <a:prstDash val="sysDot"/>
            <a:headEnd type="none" w="sm" len="sm"/>
            <a:tailEnd type="none" w="sm" len="sm"/>
          </a:ln>
          <a:effectLst/>
        </p:spPr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defTabSz="9572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F7800"/>
              </a:buClr>
              <a:buSzTx/>
              <a:buFont typeface="Arial" charset="0"/>
              <a:buChar char="●"/>
              <a:tabLst/>
              <a:defRPr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solidFill>
                <a:srgbClr val="62646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68" name="Group 274">
            <a:extLst>
              <a:ext uri="{FF2B5EF4-FFF2-40B4-BE49-F238E27FC236}">
                <a16:creationId xmlns:a16="http://schemas.microsoft.com/office/drawing/2014/main" id="{501446A6-61D7-DB61-C4EE-12992C0FE5CB}"/>
              </a:ext>
            </a:extLst>
          </p:cNvPr>
          <p:cNvGrpSpPr/>
          <p:nvPr/>
        </p:nvGrpSpPr>
        <p:grpSpPr>
          <a:xfrm>
            <a:off x="10939868" y="3781107"/>
            <a:ext cx="284163" cy="274638"/>
            <a:chOff x="4251860" y="1995798"/>
            <a:chExt cx="509964" cy="509964"/>
          </a:xfrm>
        </p:grpSpPr>
        <p:sp>
          <p:nvSpPr>
            <p:cNvPr id="269" name="Oval 275">
              <a:extLst>
                <a:ext uri="{FF2B5EF4-FFF2-40B4-BE49-F238E27FC236}">
                  <a16:creationId xmlns:a16="http://schemas.microsoft.com/office/drawing/2014/main" id="{F7F2B2EF-27B7-26BF-8CE7-F383F2101B5C}"/>
                </a:ext>
              </a:extLst>
            </p:cNvPr>
            <p:cNvSpPr/>
            <p:nvPr/>
          </p:nvSpPr>
          <p:spPr>
            <a:xfrm>
              <a:off x="4251860" y="1995798"/>
              <a:ext cx="509964" cy="509964"/>
            </a:xfrm>
            <a:prstGeom prst="ellipse">
              <a:avLst/>
            </a:prstGeom>
            <a:solidFill>
              <a:srgbClr val="0087F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10A1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70" name="Graphic 276">
              <a:extLst>
                <a:ext uri="{FF2B5EF4-FFF2-40B4-BE49-F238E27FC236}">
                  <a16:creationId xmlns:a16="http://schemas.microsoft.com/office/drawing/2014/main" id="{849DFE14-D050-A19E-49D1-8175D07F162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7"/>
                </a:ext>
              </a:extLst>
            </a:blip>
            <a:stretch>
              <a:fillRect/>
            </a:stretch>
          </p:blipFill>
          <p:spPr>
            <a:xfrm>
              <a:off x="4388165" y="2121256"/>
              <a:ext cx="237353" cy="237353"/>
            </a:xfrm>
            <a:prstGeom prst="rect">
              <a:avLst/>
            </a:prstGeom>
          </p:spPr>
        </p:pic>
      </p:grpSp>
      <p:sp>
        <p:nvSpPr>
          <p:cNvPr id="271" name="Arrow: Chevron 171">
            <a:extLst>
              <a:ext uri="{FF2B5EF4-FFF2-40B4-BE49-F238E27FC236}">
                <a16:creationId xmlns:a16="http://schemas.microsoft.com/office/drawing/2014/main" id="{324DE830-F067-41E9-6DB1-0BB4D8B1294F}"/>
              </a:ext>
            </a:extLst>
          </p:cNvPr>
          <p:cNvSpPr/>
          <p:nvPr/>
        </p:nvSpPr>
        <p:spPr>
          <a:xfrm>
            <a:off x="152400" y="3684588"/>
            <a:ext cx="1331913" cy="2251075"/>
          </a:xfrm>
          <a:prstGeom prst="chevron">
            <a:avLst>
              <a:gd name="adj" fmla="val 0"/>
            </a:avLst>
          </a:prstGeom>
          <a:solidFill>
            <a:srgbClr val="0D6132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ЗоРРО Осень</a:t>
            </a: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Декабрьский индекс</a:t>
            </a:r>
            <a:endParaRPr kumimoji="0" lang="en-US" sz="1050" b="0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72" name="Rectangle 319">
            <a:extLst>
              <a:ext uri="{FF2B5EF4-FFF2-40B4-BE49-F238E27FC236}">
                <a16:creationId xmlns:a16="http://schemas.microsoft.com/office/drawing/2014/main" id="{B5A6A486-C296-76B3-427C-176C7E8396B8}"/>
              </a:ext>
            </a:extLst>
          </p:cNvPr>
          <p:cNvSpPr/>
          <p:nvPr/>
        </p:nvSpPr>
        <p:spPr bwMode="auto">
          <a:xfrm>
            <a:off x="4981879" y="1346202"/>
            <a:ext cx="2193375" cy="1781174"/>
          </a:xfrm>
          <a:prstGeom prst="rect">
            <a:avLst/>
          </a:prstGeom>
          <a:noFill/>
          <a:ln w="19050" cap="flat" cmpd="sng" algn="ctr">
            <a:solidFill>
              <a:srgbClr val="0087F1"/>
            </a:solidFill>
            <a:prstDash val="sysDot"/>
            <a:headEnd type="none" w="sm" len="sm"/>
            <a:tailEnd type="none" w="sm" len="sm"/>
          </a:ln>
          <a:effectLst/>
        </p:spPr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defTabSz="9572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F7800"/>
              </a:buClr>
              <a:buSzTx/>
              <a:buFont typeface="Arial" charset="0"/>
              <a:buChar char="●"/>
              <a:tabLst/>
              <a:defRPr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solidFill>
                <a:srgbClr val="62646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73" name="Group 320">
            <a:extLst>
              <a:ext uri="{FF2B5EF4-FFF2-40B4-BE49-F238E27FC236}">
                <a16:creationId xmlns:a16="http://schemas.microsoft.com/office/drawing/2014/main" id="{06E9D9D8-F7EA-46E8-3CCB-6CC5EBF83DAE}"/>
              </a:ext>
            </a:extLst>
          </p:cNvPr>
          <p:cNvGrpSpPr/>
          <p:nvPr/>
        </p:nvGrpSpPr>
        <p:grpSpPr>
          <a:xfrm>
            <a:off x="5965825" y="1375189"/>
            <a:ext cx="283708" cy="274638"/>
            <a:chOff x="4251860" y="1995798"/>
            <a:chExt cx="509964" cy="509964"/>
          </a:xfrm>
        </p:grpSpPr>
        <p:sp>
          <p:nvSpPr>
            <p:cNvPr id="274" name="Oval 321">
              <a:extLst>
                <a:ext uri="{FF2B5EF4-FFF2-40B4-BE49-F238E27FC236}">
                  <a16:creationId xmlns:a16="http://schemas.microsoft.com/office/drawing/2014/main" id="{E7B49E92-EB71-6BC4-6677-0089418A8375}"/>
                </a:ext>
              </a:extLst>
            </p:cNvPr>
            <p:cNvSpPr/>
            <p:nvPr/>
          </p:nvSpPr>
          <p:spPr>
            <a:xfrm>
              <a:off x="4251860" y="1995798"/>
              <a:ext cx="509964" cy="509964"/>
            </a:xfrm>
            <a:prstGeom prst="ellipse">
              <a:avLst/>
            </a:prstGeom>
            <a:solidFill>
              <a:srgbClr val="0087F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10A1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75" name="Graphic 322">
              <a:extLst>
                <a:ext uri="{FF2B5EF4-FFF2-40B4-BE49-F238E27FC236}">
                  <a16:creationId xmlns:a16="http://schemas.microsoft.com/office/drawing/2014/main" id="{8ED824AD-3E31-5269-5638-997FD5D9F85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7"/>
                </a:ext>
              </a:extLst>
            </a:blip>
            <a:stretch>
              <a:fillRect/>
            </a:stretch>
          </p:blipFill>
          <p:spPr>
            <a:xfrm>
              <a:off x="4388165" y="2121256"/>
              <a:ext cx="237353" cy="237353"/>
            </a:xfrm>
            <a:prstGeom prst="rect">
              <a:avLst/>
            </a:prstGeom>
          </p:spPr>
        </p:pic>
      </p:grpSp>
      <p:sp>
        <p:nvSpPr>
          <p:cNvPr id="276" name="Rectangle 323">
            <a:extLst>
              <a:ext uri="{FF2B5EF4-FFF2-40B4-BE49-F238E27FC236}">
                <a16:creationId xmlns:a16="http://schemas.microsoft.com/office/drawing/2014/main" id="{87E2AFD1-0D6E-3ECA-111E-73D261699E8B}"/>
              </a:ext>
            </a:extLst>
          </p:cNvPr>
          <p:cNvSpPr/>
          <p:nvPr/>
        </p:nvSpPr>
        <p:spPr bwMode="auto">
          <a:xfrm>
            <a:off x="8020277" y="1346202"/>
            <a:ext cx="647474" cy="1781174"/>
          </a:xfrm>
          <a:prstGeom prst="rect">
            <a:avLst/>
          </a:prstGeom>
          <a:noFill/>
          <a:ln w="19050" cap="flat" cmpd="sng" algn="ctr">
            <a:solidFill>
              <a:srgbClr val="0087F1"/>
            </a:solidFill>
            <a:prstDash val="sysDot"/>
            <a:headEnd type="none" w="sm" len="sm"/>
            <a:tailEnd type="none" w="sm" len="sm"/>
          </a:ln>
          <a:effectLst/>
        </p:spPr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defTabSz="9572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F7800"/>
              </a:buClr>
              <a:buSzTx/>
              <a:buFont typeface="Arial" charset="0"/>
              <a:buChar char="●"/>
              <a:tabLst/>
              <a:defRPr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solidFill>
                <a:srgbClr val="62646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77" name="Group 324">
            <a:extLst>
              <a:ext uri="{FF2B5EF4-FFF2-40B4-BE49-F238E27FC236}">
                <a16:creationId xmlns:a16="http://schemas.microsoft.com/office/drawing/2014/main" id="{7601B328-B5C9-3099-1EDB-CE4838215A08}"/>
              </a:ext>
            </a:extLst>
          </p:cNvPr>
          <p:cNvGrpSpPr/>
          <p:nvPr/>
        </p:nvGrpSpPr>
        <p:grpSpPr>
          <a:xfrm>
            <a:off x="8220778" y="1375189"/>
            <a:ext cx="283708" cy="274638"/>
            <a:chOff x="4251860" y="1995798"/>
            <a:chExt cx="509964" cy="509964"/>
          </a:xfrm>
        </p:grpSpPr>
        <p:sp>
          <p:nvSpPr>
            <p:cNvPr id="278" name="Oval 325">
              <a:extLst>
                <a:ext uri="{FF2B5EF4-FFF2-40B4-BE49-F238E27FC236}">
                  <a16:creationId xmlns:a16="http://schemas.microsoft.com/office/drawing/2014/main" id="{566F5069-DE4E-A4AB-DE57-F217FE7BD967}"/>
                </a:ext>
              </a:extLst>
            </p:cNvPr>
            <p:cNvSpPr/>
            <p:nvPr/>
          </p:nvSpPr>
          <p:spPr>
            <a:xfrm>
              <a:off x="4251860" y="1995798"/>
              <a:ext cx="509964" cy="509964"/>
            </a:xfrm>
            <a:prstGeom prst="ellipse">
              <a:avLst/>
            </a:prstGeom>
            <a:solidFill>
              <a:srgbClr val="0087F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10A1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79" name="Graphic 326">
              <a:extLst>
                <a:ext uri="{FF2B5EF4-FFF2-40B4-BE49-F238E27FC236}">
                  <a16:creationId xmlns:a16="http://schemas.microsoft.com/office/drawing/2014/main" id="{7817E1CE-D5A5-38F8-E081-3309E778462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7"/>
                </a:ext>
              </a:extLst>
            </a:blip>
            <a:stretch>
              <a:fillRect/>
            </a:stretch>
          </p:blipFill>
          <p:spPr>
            <a:xfrm>
              <a:off x="4388165" y="2121256"/>
              <a:ext cx="237353" cy="237353"/>
            </a:xfrm>
            <a:prstGeom prst="rect">
              <a:avLst/>
            </a:prstGeom>
          </p:spPr>
        </p:pic>
      </p:grpSp>
      <p:sp>
        <p:nvSpPr>
          <p:cNvPr id="280" name="Rectangle 357">
            <a:extLst>
              <a:ext uri="{FF2B5EF4-FFF2-40B4-BE49-F238E27FC236}">
                <a16:creationId xmlns:a16="http://schemas.microsoft.com/office/drawing/2014/main" id="{E7B61AA5-1510-7307-1F90-F14339DFAFB1}"/>
              </a:ext>
            </a:extLst>
          </p:cNvPr>
          <p:cNvSpPr/>
          <p:nvPr/>
        </p:nvSpPr>
        <p:spPr bwMode="auto">
          <a:xfrm>
            <a:off x="1971921" y="3743740"/>
            <a:ext cx="744538" cy="1745836"/>
          </a:xfrm>
          <a:prstGeom prst="rect">
            <a:avLst/>
          </a:prstGeom>
          <a:noFill/>
          <a:ln w="19050" cap="flat" cmpd="sng" algn="ctr">
            <a:solidFill>
              <a:srgbClr val="0087F1"/>
            </a:solidFill>
            <a:prstDash val="sysDot"/>
            <a:headEnd type="none" w="sm" len="sm"/>
            <a:tailEnd type="none" w="sm" len="sm"/>
          </a:ln>
          <a:effectLst/>
        </p:spPr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defTabSz="9572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F7800"/>
              </a:buClr>
              <a:buSzTx/>
              <a:buFont typeface="Arial" charset="0"/>
              <a:buChar char="●"/>
              <a:tabLst/>
              <a:defRPr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solidFill>
                <a:srgbClr val="62646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81" name="Group 358">
            <a:extLst>
              <a:ext uri="{FF2B5EF4-FFF2-40B4-BE49-F238E27FC236}">
                <a16:creationId xmlns:a16="http://schemas.microsoft.com/office/drawing/2014/main" id="{7651B42D-F82B-24B9-AC2D-3B2F458C8B8C}"/>
              </a:ext>
            </a:extLst>
          </p:cNvPr>
          <p:cNvGrpSpPr/>
          <p:nvPr/>
        </p:nvGrpSpPr>
        <p:grpSpPr>
          <a:xfrm>
            <a:off x="2180430" y="3744913"/>
            <a:ext cx="284163" cy="274638"/>
            <a:chOff x="4251860" y="1995798"/>
            <a:chExt cx="509964" cy="509964"/>
          </a:xfrm>
        </p:grpSpPr>
        <p:sp>
          <p:nvSpPr>
            <p:cNvPr id="282" name="Oval 359">
              <a:extLst>
                <a:ext uri="{FF2B5EF4-FFF2-40B4-BE49-F238E27FC236}">
                  <a16:creationId xmlns:a16="http://schemas.microsoft.com/office/drawing/2014/main" id="{BAB5F95C-2163-C6DA-EF01-4D3F9BD6838A}"/>
                </a:ext>
              </a:extLst>
            </p:cNvPr>
            <p:cNvSpPr/>
            <p:nvPr/>
          </p:nvSpPr>
          <p:spPr>
            <a:xfrm>
              <a:off x="4251860" y="1995798"/>
              <a:ext cx="509964" cy="509964"/>
            </a:xfrm>
            <a:prstGeom prst="ellipse">
              <a:avLst/>
            </a:prstGeom>
            <a:solidFill>
              <a:srgbClr val="0087F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10A1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83" name="Graphic 360">
              <a:extLst>
                <a:ext uri="{FF2B5EF4-FFF2-40B4-BE49-F238E27FC236}">
                  <a16:creationId xmlns:a16="http://schemas.microsoft.com/office/drawing/2014/main" id="{F6B4F908-89DE-439D-2FBB-D0E43C11F75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7"/>
                </a:ext>
              </a:extLst>
            </a:blip>
            <a:stretch>
              <a:fillRect/>
            </a:stretch>
          </p:blipFill>
          <p:spPr>
            <a:xfrm>
              <a:off x="4388165" y="2121256"/>
              <a:ext cx="237353" cy="237353"/>
            </a:xfrm>
            <a:prstGeom prst="rect">
              <a:avLst/>
            </a:prstGeom>
          </p:spPr>
        </p:pic>
      </p:grpSp>
      <p:sp>
        <p:nvSpPr>
          <p:cNvPr id="284" name="Rectangle 330">
            <a:extLst>
              <a:ext uri="{FF2B5EF4-FFF2-40B4-BE49-F238E27FC236}">
                <a16:creationId xmlns:a16="http://schemas.microsoft.com/office/drawing/2014/main" id="{A8A8A507-9C1D-2F98-16B5-8C333ED03A78}"/>
              </a:ext>
            </a:extLst>
          </p:cNvPr>
          <p:cNvSpPr/>
          <p:nvPr>
            <p:custDataLst>
              <p:tags r:id="rId99"/>
            </p:custDataLst>
          </p:nvPr>
        </p:nvSpPr>
        <p:spPr bwMode="auto">
          <a:xfrm>
            <a:off x="4471988" y="5776913"/>
            <a:ext cx="142875" cy="106363"/>
          </a:xfrm>
          <a:prstGeom prst="rect">
            <a:avLst/>
          </a:prstGeom>
          <a:solidFill>
            <a:srgbClr val="2000F5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10A1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5" name="Rectangle 331">
            <a:extLst>
              <a:ext uri="{FF2B5EF4-FFF2-40B4-BE49-F238E27FC236}">
                <a16:creationId xmlns:a16="http://schemas.microsoft.com/office/drawing/2014/main" id="{1BAE8EB4-2C3D-AABC-59B9-384EC25968EB}"/>
              </a:ext>
            </a:extLst>
          </p:cNvPr>
          <p:cNvSpPr/>
          <p:nvPr>
            <p:custDataLst>
              <p:tags r:id="rId100"/>
            </p:custDataLst>
          </p:nvPr>
        </p:nvSpPr>
        <p:spPr bwMode="auto">
          <a:xfrm>
            <a:off x="6889750" y="5776913"/>
            <a:ext cx="142875" cy="106363"/>
          </a:xfrm>
          <a:prstGeom prst="rect">
            <a:avLst/>
          </a:prstGeom>
          <a:solidFill>
            <a:srgbClr val="8CEF8E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10A1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6" name="Google Shape;11;p28">
            <a:extLst>
              <a:ext uri="{FF2B5EF4-FFF2-40B4-BE49-F238E27FC236}">
                <a16:creationId xmlns:a16="http://schemas.microsoft.com/office/drawing/2014/main" id="{AADFA492-4C71-2DBF-11A1-10AEBE0E5A97}"/>
              </a:ext>
            </a:extLst>
          </p:cNvPr>
          <p:cNvSpPr txBox="1">
            <a:spLocks noGrp="1"/>
          </p:cNvSpPr>
          <p:nvPr>
            <p:custDataLst>
              <p:tags r:id="rId101"/>
            </p:custDataLst>
          </p:nvPr>
        </p:nvSpPr>
        <p:spPr bwMode="auto">
          <a:xfrm>
            <a:off x="7083425" y="5772150"/>
            <a:ext cx="15843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8EDAE05C-8DC3-46F8-AF37-B7A61000DB26}" type="datetime'Se''ttl''eme''nt '' Ave''r''ag''e 11.0''''9 –'' 3''1.''''10'">
              <a:rPr kumimoji="0" lang="en-US" alt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Settlement  Average 11.09 – 31.10</a:t>
            </a:fld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87" name="Google Shape;11;p28">
            <a:extLst>
              <a:ext uri="{FF2B5EF4-FFF2-40B4-BE49-F238E27FC236}">
                <a16:creationId xmlns:a16="http://schemas.microsoft.com/office/drawing/2014/main" id="{FAC6BBC0-2617-83B4-4CBE-A397A421E287}"/>
              </a:ext>
            </a:extLst>
          </p:cNvPr>
          <p:cNvSpPr txBox="1">
            <a:spLocks noGrp="1"/>
          </p:cNvSpPr>
          <p:nvPr>
            <p:custDataLst>
              <p:tags r:id="rId102"/>
            </p:custDataLst>
          </p:nvPr>
        </p:nvSpPr>
        <p:spPr bwMode="auto">
          <a:xfrm>
            <a:off x="4665663" y="5772150"/>
            <a:ext cx="212248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7C07CC1-D46F-411F-9A95-ACE850785F5C}" type="datetime'AUTUM''N Pric''e Fixa''''t''ion'' A''verage 13.''05 - 09.08'">
              <a:rPr kumimoji="0" lang="en-US" alt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AUTUMN Price Fixation Average 13.05 - 09.08</a:t>
            </a:fld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88" name="Rectangle 332">
            <a:extLst>
              <a:ext uri="{FF2B5EF4-FFF2-40B4-BE49-F238E27FC236}">
                <a16:creationId xmlns:a16="http://schemas.microsoft.com/office/drawing/2014/main" id="{769A6FC3-8382-89DA-3019-A63174E97638}"/>
              </a:ext>
            </a:extLst>
          </p:cNvPr>
          <p:cNvSpPr/>
          <p:nvPr/>
        </p:nvSpPr>
        <p:spPr bwMode="auto">
          <a:xfrm>
            <a:off x="7990133" y="3743740"/>
            <a:ext cx="744538" cy="1745836"/>
          </a:xfrm>
          <a:prstGeom prst="rect">
            <a:avLst/>
          </a:prstGeom>
          <a:noFill/>
          <a:ln w="19050" cap="flat" cmpd="sng" algn="ctr">
            <a:solidFill>
              <a:srgbClr val="0087F1"/>
            </a:solidFill>
            <a:prstDash val="sysDot"/>
            <a:headEnd type="none" w="sm" len="sm"/>
            <a:tailEnd type="none" w="sm" len="sm"/>
          </a:ln>
          <a:effectLst/>
        </p:spPr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defTabSz="9572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F7800"/>
              </a:buClr>
              <a:buSzTx/>
              <a:buFont typeface="Arial" charset="0"/>
              <a:buChar char="●"/>
              <a:tabLst/>
              <a:defRPr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solidFill>
                <a:srgbClr val="62646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89" name="Group 333">
            <a:extLst>
              <a:ext uri="{FF2B5EF4-FFF2-40B4-BE49-F238E27FC236}">
                <a16:creationId xmlns:a16="http://schemas.microsoft.com/office/drawing/2014/main" id="{127A2B02-A6D5-BBD0-EB3E-16A00E13180B}"/>
              </a:ext>
            </a:extLst>
          </p:cNvPr>
          <p:cNvGrpSpPr/>
          <p:nvPr/>
        </p:nvGrpSpPr>
        <p:grpSpPr>
          <a:xfrm>
            <a:off x="8186808" y="3781107"/>
            <a:ext cx="284163" cy="274638"/>
            <a:chOff x="4251860" y="1995798"/>
            <a:chExt cx="509964" cy="509964"/>
          </a:xfrm>
        </p:grpSpPr>
        <p:sp>
          <p:nvSpPr>
            <p:cNvPr id="290" name="Oval 338">
              <a:extLst>
                <a:ext uri="{FF2B5EF4-FFF2-40B4-BE49-F238E27FC236}">
                  <a16:creationId xmlns:a16="http://schemas.microsoft.com/office/drawing/2014/main" id="{35870854-AFAC-B564-832B-48C7E14FB314}"/>
                </a:ext>
              </a:extLst>
            </p:cNvPr>
            <p:cNvSpPr/>
            <p:nvPr/>
          </p:nvSpPr>
          <p:spPr>
            <a:xfrm>
              <a:off x="4251860" y="1995798"/>
              <a:ext cx="509964" cy="509964"/>
            </a:xfrm>
            <a:prstGeom prst="ellipse">
              <a:avLst/>
            </a:prstGeom>
            <a:solidFill>
              <a:srgbClr val="0087F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10A1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91" name="Graphic 339">
              <a:extLst>
                <a:ext uri="{FF2B5EF4-FFF2-40B4-BE49-F238E27FC236}">
                  <a16:creationId xmlns:a16="http://schemas.microsoft.com/office/drawing/2014/main" id="{7D16C451-F1CA-B0B1-4C18-B1A5CDA3E1D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7"/>
                </a:ext>
              </a:extLst>
            </a:blip>
            <a:stretch>
              <a:fillRect/>
            </a:stretch>
          </p:blipFill>
          <p:spPr>
            <a:xfrm>
              <a:off x="4388165" y="2121256"/>
              <a:ext cx="237353" cy="237353"/>
            </a:xfrm>
            <a:prstGeom prst="rect">
              <a:avLst/>
            </a:prstGeom>
          </p:spPr>
        </p:pic>
      </p:grpSp>
      <p:pic>
        <p:nvPicPr>
          <p:cNvPr id="292" name="Picture 2">
            <a:extLst>
              <a:ext uri="{FF2B5EF4-FFF2-40B4-BE49-F238E27FC236}">
                <a16:creationId xmlns:a16="http://schemas.microsoft.com/office/drawing/2014/main" id="{3D5CF462-7509-DBD8-F198-E082FBC599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3633" y="5970048"/>
            <a:ext cx="661986" cy="2052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3" name="Rectangle 135">
            <a:extLst>
              <a:ext uri="{FF2B5EF4-FFF2-40B4-BE49-F238E27FC236}">
                <a16:creationId xmlns:a16="http://schemas.microsoft.com/office/drawing/2014/main" id="{72828FC2-1399-F849-9532-ABE1D33D9820}"/>
              </a:ext>
            </a:extLst>
          </p:cNvPr>
          <p:cNvSpPr/>
          <p:nvPr/>
        </p:nvSpPr>
        <p:spPr bwMode="auto">
          <a:xfrm>
            <a:off x="9536367" y="1346202"/>
            <a:ext cx="647474" cy="1781174"/>
          </a:xfrm>
          <a:prstGeom prst="rect">
            <a:avLst/>
          </a:prstGeom>
          <a:noFill/>
          <a:ln w="19050" cap="flat" cmpd="sng" algn="ctr">
            <a:solidFill>
              <a:srgbClr val="0087F1"/>
            </a:solidFill>
            <a:prstDash val="sysDot"/>
            <a:headEnd type="none" w="sm" len="sm"/>
            <a:tailEnd type="none" w="sm" len="sm"/>
          </a:ln>
          <a:effectLst/>
        </p:spPr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defTabSz="9572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F7800"/>
              </a:buClr>
              <a:buSzTx/>
              <a:buFont typeface="Arial" charset="0"/>
              <a:buChar char="●"/>
              <a:tabLst/>
              <a:defRPr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solidFill>
                <a:srgbClr val="62646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94" name="Group 136">
            <a:extLst>
              <a:ext uri="{FF2B5EF4-FFF2-40B4-BE49-F238E27FC236}">
                <a16:creationId xmlns:a16="http://schemas.microsoft.com/office/drawing/2014/main" id="{D9BB4542-FB2F-342D-BF35-40157ABA2232}"/>
              </a:ext>
            </a:extLst>
          </p:cNvPr>
          <p:cNvGrpSpPr/>
          <p:nvPr/>
        </p:nvGrpSpPr>
        <p:grpSpPr>
          <a:xfrm>
            <a:off x="9736868" y="1375189"/>
            <a:ext cx="283708" cy="274638"/>
            <a:chOff x="4251860" y="1995798"/>
            <a:chExt cx="509964" cy="509964"/>
          </a:xfrm>
        </p:grpSpPr>
        <p:sp>
          <p:nvSpPr>
            <p:cNvPr id="295" name="Oval 137">
              <a:extLst>
                <a:ext uri="{FF2B5EF4-FFF2-40B4-BE49-F238E27FC236}">
                  <a16:creationId xmlns:a16="http://schemas.microsoft.com/office/drawing/2014/main" id="{C7D12DD8-4469-BD5C-B974-9CCC331487CF}"/>
                </a:ext>
              </a:extLst>
            </p:cNvPr>
            <p:cNvSpPr/>
            <p:nvPr/>
          </p:nvSpPr>
          <p:spPr>
            <a:xfrm>
              <a:off x="4251860" y="1995798"/>
              <a:ext cx="509964" cy="509964"/>
            </a:xfrm>
            <a:prstGeom prst="ellipse">
              <a:avLst/>
            </a:prstGeom>
            <a:solidFill>
              <a:srgbClr val="0087F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10A1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96" name="Graphic 143">
              <a:extLst>
                <a:ext uri="{FF2B5EF4-FFF2-40B4-BE49-F238E27FC236}">
                  <a16:creationId xmlns:a16="http://schemas.microsoft.com/office/drawing/2014/main" id="{94C44BCF-3C71-EC6E-245D-83ED555A327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7"/>
                </a:ext>
              </a:extLst>
            </a:blip>
            <a:stretch>
              <a:fillRect/>
            </a:stretch>
          </p:blipFill>
          <p:spPr>
            <a:xfrm>
              <a:off x="4388165" y="2121256"/>
              <a:ext cx="237353" cy="237353"/>
            </a:xfrm>
            <a:prstGeom prst="rect">
              <a:avLst/>
            </a:prstGeom>
          </p:spPr>
        </p:pic>
      </p:grpSp>
      <p:pic>
        <p:nvPicPr>
          <p:cNvPr id="297" name="Graphic 145">
            <a:extLst>
              <a:ext uri="{FF2B5EF4-FFF2-40B4-BE49-F238E27FC236}">
                <a16:creationId xmlns:a16="http://schemas.microsoft.com/office/drawing/2014/main" id="{23A60858-F598-B982-1B17-A85B444804B3}"/>
              </a:ext>
            </a:extLst>
          </p:cNvPr>
          <p:cNvPicPr>
            <a:picLocks noChangeAspect="1"/>
          </p:cNvPicPr>
          <p:nvPr/>
        </p:nvPicPr>
        <p:blipFill>
          <a:blip r:embed="rId1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2"/>
              </a:ext>
            </a:extLst>
          </a:blip>
          <a:stretch>
            <a:fillRect/>
          </a:stretch>
        </p:blipFill>
        <p:spPr>
          <a:xfrm>
            <a:off x="10939868" y="682462"/>
            <a:ext cx="600239" cy="600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817141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CB04114-61FC-9CBC-C60D-8A1A76163A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329063"/>
            <a:ext cx="8750425" cy="649792"/>
          </a:xfrm>
        </p:spPr>
        <p:txBody>
          <a:bodyPr/>
          <a:lstStyle/>
          <a:p>
            <a:r>
              <a:rPr lang="ru-RU" sz="1800" b="1" kern="0" dirty="0">
                <a:latin typeface="+mj-lt"/>
              </a:rPr>
              <a:t>Статистика индекса пшеница</a:t>
            </a:r>
            <a:r>
              <a:rPr lang="en-US" sz="1800" b="1" kern="0" dirty="0">
                <a:latin typeface="+mj-lt"/>
              </a:rPr>
              <a:t>: </a:t>
            </a:r>
            <a:r>
              <a:rPr lang="ru-RU" sz="1800" b="1" kern="0" dirty="0">
                <a:latin typeface="+mj-lt"/>
              </a:rPr>
              <a:t>69</a:t>
            </a:r>
            <a:r>
              <a:rPr lang="en-US" sz="1800" b="1" kern="0" dirty="0">
                <a:latin typeface="+mj-lt"/>
              </a:rPr>
              <a:t>% </a:t>
            </a:r>
            <a:r>
              <a:rPr lang="ru-RU" sz="1800" b="1" kern="0" dirty="0">
                <a:latin typeface="+mj-lt"/>
              </a:rPr>
              <a:t>вероятность получения выплаты по варианту ЗоРРО Классический</a:t>
            </a:r>
            <a:br>
              <a:rPr lang="ru-RU" sz="1400" b="1" kern="0" dirty="0">
                <a:latin typeface="+mj-lt"/>
              </a:rPr>
            </a:br>
            <a:r>
              <a:rPr lang="en-US" sz="1200" i="1" kern="0" dirty="0">
                <a:cs typeface="Arial"/>
                <a:sym typeface="Arial"/>
              </a:rPr>
              <a:t>(2011 - 2023 </a:t>
            </a:r>
            <a:r>
              <a:rPr lang="ru-RU" sz="1200" i="1" kern="0" dirty="0">
                <a:cs typeface="Arial"/>
                <a:sym typeface="Arial"/>
              </a:rPr>
              <a:t>годы</a:t>
            </a:r>
            <a:r>
              <a:rPr lang="en-US" sz="1200" i="1" kern="0" dirty="0">
                <a:cs typeface="Arial"/>
                <a:sym typeface="Arial"/>
              </a:rPr>
              <a:t>)</a:t>
            </a:r>
            <a:endParaRPr lang="en-US" sz="1400" b="1" i="1" kern="0" dirty="0">
              <a:latin typeface="+mj-lt"/>
            </a:endParaRP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F0B22062-3D45-3AF0-19AD-1F656449B2A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GB" dirty="0"/>
              <a:t>CLASSIFICATION: </a:t>
            </a:r>
            <a:r>
              <a:rPr lang="en-US" dirty="0"/>
              <a:t>Public</a:t>
            </a:r>
            <a:endParaRPr lang="en-GB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C6891FF4-CED8-6B62-3B95-49BC357A2E7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9C47F3-E74D-462A-9E9A-E7164C68AF73}" type="slidenum">
              <a:rPr lang="en-GB" smtClean="0"/>
              <a:pPr/>
              <a:t>12</a:t>
            </a:fld>
            <a:endParaRPr lang="en-GB"/>
          </a:p>
        </p:txBody>
      </p:sp>
      <p:pic>
        <p:nvPicPr>
          <p:cNvPr id="17" name="Picture 2" descr="A green and black logo&#10;&#10;Description automatically generated">
            <a:extLst>
              <a:ext uri="{FF2B5EF4-FFF2-40B4-BE49-F238E27FC236}">
                <a16:creationId xmlns:a16="http://schemas.microsoft.com/office/drawing/2014/main" id="{154FB624-8989-56B1-EE89-0EDD40C44CEF}"/>
              </a:ext>
            </a:extLst>
          </p:cNvPr>
          <p:cNvPicPr>
            <a:picLocks noChangeAspect="1"/>
          </p:cNvPicPr>
          <p:nvPr/>
        </p:nvPicPr>
        <p:blipFill>
          <a:blip r:embed="rId5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0957" y="0"/>
            <a:ext cx="1881043" cy="792796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E2C4E879-2401-59B2-1CDE-2FD4E2ADF71C}"/>
              </a:ext>
            </a:extLst>
          </p:cNvPr>
          <p:cNvSpPr txBox="1">
            <a:spLocks/>
          </p:cNvSpPr>
          <p:nvPr/>
        </p:nvSpPr>
        <p:spPr>
          <a:xfrm>
            <a:off x="404863" y="329063"/>
            <a:ext cx="11422938" cy="812800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600" b="1" i="1" u="none" strike="noStrike" kern="0" cap="none" spc="0" normalizeH="0" baseline="0" noProof="0" dirty="0">
              <a:ln>
                <a:noFill/>
              </a:ln>
              <a:solidFill>
                <a:srgbClr val="2000F5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80BB26F-7EE1-38A7-3B0A-8A6E13C71EEC}"/>
              </a:ext>
            </a:extLst>
          </p:cNvPr>
          <p:cNvSpPr txBox="1"/>
          <p:nvPr/>
        </p:nvSpPr>
        <p:spPr>
          <a:xfrm>
            <a:off x="424575" y="5999018"/>
            <a:ext cx="609946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1" u="none" strike="noStrike" kern="0" cap="none" spc="0" normalizeH="0" baseline="0" noProof="0" dirty="0">
                <a:ln>
                  <a:noFill/>
                </a:ln>
                <a:solidFill>
                  <a:srgbClr val="ABB6BA">
                    <a:lumMod val="50000"/>
                  </a:srgbClr>
                </a:solidFill>
                <a:effectLst/>
                <a:uLnTx/>
                <a:uFillTx/>
              </a:rPr>
              <a:t>NB: </a:t>
            </a:r>
            <a:r>
              <a:rPr lang="ru-RU" sz="800" i="1" kern="0" dirty="0">
                <a:solidFill>
                  <a:srgbClr val="ABB6BA">
                    <a:lumMod val="50000"/>
                  </a:srgbClr>
                </a:solidFill>
              </a:rPr>
              <a:t>максимальная выплата</a:t>
            </a:r>
            <a:r>
              <a:rPr kumimoji="0" lang="en-US" sz="800" b="0" i="1" u="none" strike="noStrike" kern="0" cap="none" spc="0" normalizeH="0" baseline="0" noProof="0" dirty="0">
                <a:ln>
                  <a:noFill/>
                </a:ln>
                <a:solidFill>
                  <a:srgbClr val="ABB6BA">
                    <a:lumMod val="50000"/>
                  </a:srgbClr>
                </a:solidFill>
                <a:effectLst/>
                <a:uLnTx/>
                <a:uFillTx/>
              </a:rPr>
              <a:t> 15%    |   </a:t>
            </a:r>
            <a:r>
              <a:rPr kumimoji="0" lang="en-US" sz="800" b="0" i="1" u="none" strike="noStrike" kern="0" cap="none" spc="0" normalizeH="0" baseline="0" noProof="0" dirty="0">
                <a:ln>
                  <a:noFill/>
                </a:ln>
                <a:solidFill>
                  <a:srgbClr val="ABB6BA">
                    <a:lumMod val="50000"/>
                  </a:srgbClr>
                </a:solidFill>
                <a:effectLst/>
                <a:uLnTx/>
                <a:uFillTx/>
                <a:latin typeface="Roboto" panose="02000000000000000000" pitchFamily="2" charset="0"/>
                <a:ea typeface="Calibri" panose="020F0502020204030204" pitchFamily="34" charset="0"/>
                <a:cs typeface="Calibri" panose="020F0502020204030204" pitchFamily="34" charset="0"/>
              </a:rPr>
              <a:t>Copyright © 2023. All </a:t>
            </a:r>
            <a:r>
              <a:rPr kumimoji="0" lang="en-US" sz="800" b="0" i="1" u="none" strike="noStrike" kern="0" cap="none" spc="0" normalizeH="0" baseline="0" noProof="0" dirty="0">
                <a:ln>
                  <a:noFill/>
                </a:ln>
                <a:solidFill>
                  <a:srgbClr val="ABB6BA">
                    <a:lumMod val="50000"/>
                  </a:srgbClr>
                </a:solidFill>
                <a:effectLst/>
                <a:uLnTx/>
                <a:uFillTx/>
                <a:latin typeface="Roboto" panose="02000000000000000000" pitchFamily="2" charset="0"/>
                <a:ea typeface="Calibri" panose="020F0502020204030204" pitchFamily="34" charset="0"/>
                <a:hlinkClick r:id="rId5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rket data</a:t>
            </a:r>
            <a:r>
              <a:rPr kumimoji="0" lang="en-US" sz="800" b="0" i="1" u="none" strike="noStrike" kern="0" cap="none" spc="0" normalizeH="0" baseline="0" noProof="0" dirty="0">
                <a:ln>
                  <a:noFill/>
                </a:ln>
                <a:solidFill>
                  <a:srgbClr val="ABB6BA">
                    <a:lumMod val="50000"/>
                  </a:srgbClr>
                </a:solidFill>
                <a:effectLst/>
                <a:uLnTx/>
                <a:uFillTx/>
                <a:latin typeface="Roboto" panose="02000000000000000000" pitchFamily="2" charset="0"/>
                <a:ea typeface="Calibri" panose="020F0502020204030204" pitchFamily="34" charset="0"/>
                <a:cs typeface="Calibri" panose="020F0502020204030204" pitchFamily="34" charset="0"/>
              </a:rPr>
              <a:t> is </a:t>
            </a:r>
            <a:r>
              <a:rPr kumimoji="0" lang="en-US" sz="800" b="0" i="1" u="none" strike="noStrike" kern="0" cap="none" spc="0" normalizeH="0" baseline="0" noProof="0" dirty="0">
                <a:ln>
                  <a:noFill/>
                </a:ln>
                <a:solidFill>
                  <a:srgbClr val="ABB6BA">
                    <a:lumMod val="50000"/>
                  </a:srgbClr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provided</a:t>
            </a:r>
            <a:r>
              <a:rPr kumimoji="0" lang="en-US" sz="800" b="0" i="1" u="none" strike="noStrike" kern="0" cap="none" spc="0" normalizeH="0" baseline="0" noProof="0" dirty="0">
                <a:ln>
                  <a:noFill/>
                </a:ln>
                <a:solidFill>
                  <a:srgbClr val="ABB6BA">
                    <a:lumMod val="50000"/>
                  </a:srgbClr>
                </a:solidFill>
                <a:effectLst/>
                <a:uLnTx/>
                <a:uFillTx/>
                <a:latin typeface="Roboto" panose="02000000000000000000" pitchFamily="2" charset="0"/>
                <a:ea typeface="Calibri" panose="020F0502020204030204" pitchFamily="34" charset="0"/>
                <a:cs typeface="Calibri" panose="020F0502020204030204" pitchFamily="34" charset="0"/>
              </a:rPr>
              <a:t> by Barchart Solutions</a:t>
            </a:r>
            <a:endParaRPr kumimoji="0" lang="en-US" sz="800" b="0" i="1" u="none" strike="noStrike" kern="0" cap="none" spc="0" normalizeH="0" baseline="0" noProof="0" dirty="0">
              <a:ln>
                <a:noFill/>
              </a:ln>
              <a:solidFill>
                <a:srgbClr val="ABB6BA">
                  <a:lumMod val="50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7" name="Rectangle 217">
            <a:extLst>
              <a:ext uri="{FF2B5EF4-FFF2-40B4-BE49-F238E27FC236}">
                <a16:creationId xmlns:a16="http://schemas.microsoft.com/office/drawing/2014/main" id="{0DFC18A8-3D18-6499-A840-23EB282E870A}"/>
              </a:ext>
            </a:extLst>
          </p:cNvPr>
          <p:cNvSpPr/>
          <p:nvPr/>
        </p:nvSpPr>
        <p:spPr>
          <a:xfrm>
            <a:off x="1560513" y="1343025"/>
            <a:ext cx="10448925" cy="4164013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10A1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8" name="Chart 18">
            <a:extLst>
              <a:ext uri="{FF2B5EF4-FFF2-40B4-BE49-F238E27FC236}">
                <a16:creationId xmlns:a16="http://schemas.microsoft.com/office/drawing/2014/main" id="{6BB84DF3-9683-5548-3AEF-37DDCEB553E3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1665288" y="1724025"/>
          <a:ext cx="10253662" cy="3514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9"/>
          </a:graphicData>
        </a:graphic>
      </p:graphicFrame>
      <p:cxnSp>
        <p:nvCxnSpPr>
          <p:cNvPr id="9" name="Straight Connector 337">
            <a:extLst>
              <a:ext uri="{FF2B5EF4-FFF2-40B4-BE49-F238E27FC236}">
                <a16:creationId xmlns:a16="http://schemas.microsoft.com/office/drawing/2014/main" id="{55155FB2-DADB-6542-31CB-7651A0437F3E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2538413" y="3854450"/>
            <a:ext cx="0" cy="528638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0" name="Straight Connector 335">
            <a:extLst>
              <a:ext uri="{FF2B5EF4-FFF2-40B4-BE49-F238E27FC236}">
                <a16:creationId xmlns:a16="http://schemas.microsoft.com/office/drawing/2014/main" id="{FD9FABC5-1B3A-6888-DA44-3E2D826C6B84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2268538" y="3854450"/>
            <a:ext cx="0" cy="16351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" name="Straight Connector 336">
            <a:extLst>
              <a:ext uri="{FF2B5EF4-FFF2-40B4-BE49-F238E27FC236}">
                <a16:creationId xmlns:a16="http://schemas.microsoft.com/office/drawing/2014/main" id="{09E095CA-0017-F05A-0A27-51F23D504652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2268538" y="3854450"/>
            <a:ext cx="269875" cy="0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Straight Connector 221">
            <a:extLst>
              <a:ext uri="{FF2B5EF4-FFF2-40B4-BE49-F238E27FC236}">
                <a16:creationId xmlns:a16="http://schemas.microsoft.com/office/drawing/2014/main" id="{52F2DA82-02C9-0F41-8087-DD487BD63C47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4048125" y="3987801"/>
            <a:ext cx="0" cy="307975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</p:cxnSp>
      <p:cxnSp>
        <p:nvCxnSpPr>
          <p:cNvPr id="13" name="Straight Connector 220">
            <a:extLst>
              <a:ext uri="{FF2B5EF4-FFF2-40B4-BE49-F238E27FC236}">
                <a16:creationId xmlns:a16="http://schemas.microsoft.com/office/drawing/2014/main" id="{F2246C15-814E-29B9-A4DB-9DEF48FB2779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V="1">
            <a:off x="3778250" y="3987800"/>
            <a:ext cx="0" cy="16351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4" name="Straight Connector 219">
            <a:extLst>
              <a:ext uri="{FF2B5EF4-FFF2-40B4-BE49-F238E27FC236}">
                <a16:creationId xmlns:a16="http://schemas.microsoft.com/office/drawing/2014/main" id="{0C14F442-7798-51F9-CB71-593A217E3B4D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3778250" y="3987800"/>
            <a:ext cx="269875" cy="0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5" name="Straight Connector 222">
            <a:extLst>
              <a:ext uri="{FF2B5EF4-FFF2-40B4-BE49-F238E27FC236}">
                <a16:creationId xmlns:a16="http://schemas.microsoft.com/office/drawing/2014/main" id="{25841A15-0048-33FB-F908-0A33DD86702F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 flipV="1">
            <a:off x="4532313" y="4214813"/>
            <a:ext cx="0" cy="16351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6" name="Straight Connector 223">
            <a:extLst>
              <a:ext uri="{FF2B5EF4-FFF2-40B4-BE49-F238E27FC236}">
                <a16:creationId xmlns:a16="http://schemas.microsoft.com/office/drawing/2014/main" id="{76337270-A5EE-A139-15D1-32C5A1215676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4532313" y="4214813"/>
            <a:ext cx="269875" cy="0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8" name="Straight Connector 224">
            <a:extLst>
              <a:ext uri="{FF2B5EF4-FFF2-40B4-BE49-F238E27FC236}">
                <a16:creationId xmlns:a16="http://schemas.microsoft.com/office/drawing/2014/main" id="{6BD3817C-14B8-B3EC-9ED1-F1042376FD9E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4802188" y="4214813"/>
            <a:ext cx="0" cy="647700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</p:cxnSp>
      <p:cxnSp>
        <p:nvCxnSpPr>
          <p:cNvPr id="19" name="Straight Connector 226">
            <a:extLst>
              <a:ext uri="{FF2B5EF4-FFF2-40B4-BE49-F238E27FC236}">
                <a16:creationId xmlns:a16="http://schemas.microsoft.com/office/drawing/2014/main" id="{BFB64864-7E8C-CBA3-1773-A7B55751B53A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5287963" y="4271963"/>
            <a:ext cx="269875" cy="0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20" name="Straight Connector 225">
            <a:extLst>
              <a:ext uri="{FF2B5EF4-FFF2-40B4-BE49-F238E27FC236}">
                <a16:creationId xmlns:a16="http://schemas.microsoft.com/office/drawing/2014/main" id="{724D83D7-68E9-723C-0B7B-6704259DB50D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5557838" y="4271963"/>
            <a:ext cx="0" cy="344488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sm" len="sm"/>
            <a:tailEnd type="triangle" w="med" len="med"/>
          </a:ln>
          <a:effectLst/>
        </p:spPr>
      </p:cxnSp>
      <p:cxnSp>
        <p:nvCxnSpPr>
          <p:cNvPr id="21" name="Straight Connector 227">
            <a:extLst>
              <a:ext uri="{FF2B5EF4-FFF2-40B4-BE49-F238E27FC236}">
                <a16:creationId xmlns:a16="http://schemas.microsoft.com/office/drawing/2014/main" id="{F6ACA713-B705-11E0-E609-6A187BA2C438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 flipV="1">
            <a:off x="5287963" y="4271963"/>
            <a:ext cx="0" cy="16351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22" name="Straight Connector 230">
            <a:extLst>
              <a:ext uri="{FF2B5EF4-FFF2-40B4-BE49-F238E27FC236}">
                <a16:creationId xmlns:a16="http://schemas.microsoft.com/office/drawing/2014/main" id="{4CC59EB0-DD00-786E-CCF8-AFCD2F9DA76D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 flipV="1">
            <a:off x="6042025" y="4572000"/>
            <a:ext cx="0" cy="16351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23" name="Straight Connector 228">
            <a:extLst>
              <a:ext uri="{FF2B5EF4-FFF2-40B4-BE49-F238E27FC236}">
                <a16:creationId xmlns:a16="http://schemas.microsoft.com/office/drawing/2014/main" id="{B80A02E5-8BF4-222C-EB7E-F0DC24F6EADE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6042025" y="4572000"/>
            <a:ext cx="269875" cy="0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24" name="Straight Connector 229">
            <a:extLst>
              <a:ext uri="{FF2B5EF4-FFF2-40B4-BE49-F238E27FC236}">
                <a16:creationId xmlns:a16="http://schemas.microsoft.com/office/drawing/2014/main" id="{86E51717-37CC-9278-33CB-7CFD4AC62425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6311900" y="4572001"/>
            <a:ext cx="0" cy="276225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</p:cxnSp>
      <p:cxnSp>
        <p:nvCxnSpPr>
          <p:cNvPr id="25" name="Straight Connector 231">
            <a:extLst>
              <a:ext uri="{FF2B5EF4-FFF2-40B4-BE49-F238E27FC236}">
                <a16:creationId xmlns:a16="http://schemas.microsoft.com/office/drawing/2014/main" id="{556276FE-723A-DFB2-738F-71A088C09467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6796088" y="4470400"/>
            <a:ext cx="269875" cy="0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26" name="Straight Connector 233">
            <a:extLst>
              <a:ext uri="{FF2B5EF4-FFF2-40B4-BE49-F238E27FC236}">
                <a16:creationId xmlns:a16="http://schemas.microsoft.com/office/drawing/2014/main" id="{5355506B-357D-B4B0-DE97-E0FF098AF995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 flipV="1">
            <a:off x="6796088" y="4470400"/>
            <a:ext cx="0" cy="16351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27" name="Straight Connector 232">
            <a:extLst>
              <a:ext uri="{FF2B5EF4-FFF2-40B4-BE49-F238E27FC236}">
                <a16:creationId xmlns:a16="http://schemas.microsoft.com/office/drawing/2014/main" id="{4E915DBF-F936-6C07-C20A-0B62FCCB7262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7065963" y="4470400"/>
            <a:ext cx="0" cy="344488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sm" len="sm"/>
            <a:tailEnd type="triangle" w="med" len="med"/>
          </a:ln>
          <a:effectLst/>
        </p:spPr>
      </p:cxnSp>
      <p:cxnSp>
        <p:nvCxnSpPr>
          <p:cNvPr id="28" name="Straight Connector 239">
            <a:extLst>
              <a:ext uri="{FF2B5EF4-FFF2-40B4-BE49-F238E27FC236}">
                <a16:creationId xmlns:a16="http://schemas.microsoft.com/office/drawing/2014/main" id="{C2F4478F-6EA4-EEDE-DB2E-E0A32B83CF61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8575675" y="4368800"/>
            <a:ext cx="0" cy="23971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sm" len="sm"/>
            <a:tailEnd type="triangle" w="med" len="med"/>
          </a:ln>
          <a:effectLst/>
        </p:spPr>
      </p:cxnSp>
      <p:cxnSp>
        <p:nvCxnSpPr>
          <p:cNvPr id="29" name="Straight Connector 238">
            <a:extLst>
              <a:ext uri="{FF2B5EF4-FFF2-40B4-BE49-F238E27FC236}">
                <a16:creationId xmlns:a16="http://schemas.microsoft.com/office/drawing/2014/main" id="{CD29F924-BD2F-3BB9-51D1-A083EDC5D288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8305800" y="4368800"/>
            <a:ext cx="269875" cy="0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30" name="Straight Connector 237">
            <a:extLst>
              <a:ext uri="{FF2B5EF4-FFF2-40B4-BE49-F238E27FC236}">
                <a16:creationId xmlns:a16="http://schemas.microsoft.com/office/drawing/2014/main" id="{5F73F456-6BED-1D2E-559D-F57B6BA75F75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 flipV="1">
            <a:off x="8305800" y="4368800"/>
            <a:ext cx="0" cy="16986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31" name="Straight Connector 82">
            <a:extLst>
              <a:ext uri="{FF2B5EF4-FFF2-40B4-BE49-F238E27FC236}">
                <a16:creationId xmlns:a16="http://schemas.microsoft.com/office/drawing/2014/main" id="{C7D67074-FEFD-B46B-6D1C-BBD6F9AC0E16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10839450" y="1646239"/>
            <a:ext cx="0" cy="23971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32" name="Straight Connector 80">
            <a:extLst>
              <a:ext uri="{FF2B5EF4-FFF2-40B4-BE49-F238E27FC236}">
                <a16:creationId xmlns:a16="http://schemas.microsoft.com/office/drawing/2014/main" id="{4B127A99-0528-7962-1924-017D28601AF4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 flipV="1">
            <a:off x="10569575" y="1646238"/>
            <a:ext cx="0" cy="16351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3" name="Straight Connector 81">
            <a:extLst>
              <a:ext uri="{FF2B5EF4-FFF2-40B4-BE49-F238E27FC236}">
                <a16:creationId xmlns:a16="http://schemas.microsoft.com/office/drawing/2014/main" id="{0EC9A1FD-66F1-09E3-459B-566A70597A31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10569575" y="1646238"/>
            <a:ext cx="269875" cy="0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4" name="Straight Connector 240">
            <a:extLst>
              <a:ext uri="{FF2B5EF4-FFF2-40B4-BE49-F238E27FC236}">
                <a16:creationId xmlns:a16="http://schemas.microsoft.com/office/drawing/2014/main" id="{5F40422A-4633-DA1F-3F1D-928A2F6BFA70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 flipV="1">
            <a:off x="11323638" y="3254375"/>
            <a:ext cx="0" cy="16351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5" name="Straight Connector 241">
            <a:extLst>
              <a:ext uri="{FF2B5EF4-FFF2-40B4-BE49-F238E27FC236}">
                <a16:creationId xmlns:a16="http://schemas.microsoft.com/office/drawing/2014/main" id="{1AFAFB54-28E5-E6C6-2BF6-3048B7E1CD05}"/>
              </a:ext>
            </a:extLst>
          </p:cNvPr>
          <p:cNvCxnSpPr>
            <a:cxnSpLocks/>
          </p:cNvCxnSpPr>
          <p:nvPr>
            <p:custDataLst>
              <p:tags r:id="rId27"/>
            </p:custDataLst>
          </p:nvPr>
        </p:nvCxnSpPr>
        <p:spPr bwMode="auto">
          <a:xfrm>
            <a:off x="11323638" y="3254375"/>
            <a:ext cx="269875" cy="0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6" name="Straight Connector 242">
            <a:extLst>
              <a:ext uri="{FF2B5EF4-FFF2-40B4-BE49-F238E27FC236}">
                <a16:creationId xmlns:a16="http://schemas.microsoft.com/office/drawing/2014/main" id="{7585EC9D-CB20-C28E-5EAF-FE64E8FEC45B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11593513" y="3254376"/>
            <a:ext cx="0" cy="37941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B99B704B-8A90-627E-ABF7-E6ECC92BA151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2235200" y="5086350"/>
            <a:ext cx="3365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A77F6A9-1AC1-4A08-B1A0-192D8CA1DB11}" type="datetime'ML''''''''''''''''''''''''''''''''''X''''''1''1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LX11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F4B83602-48C0-5884-F10D-0D9515F7489D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2990850" y="5086350"/>
            <a:ext cx="3365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641E5F2-957A-42AE-BF62-6F09F6B6D9AB}" type="datetime'''M''''''L''''''''''''''X''''''''''1''2''''''''''''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LX12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C9D7467C-FF79-C280-A734-0A4F8F0DBB2B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3744913" y="5086350"/>
            <a:ext cx="3365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377FC23-147D-4D25-9840-DF4BD76911D8}" type="datetime'''''''''''''''''''''''ML''''X''''''''''''1''''3''''''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LX13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0850A45B-35C7-EC23-676A-7EEADE4BFEA0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4498975" y="5086350"/>
            <a:ext cx="3365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E5BD6D5-F163-4AB9-8BBD-6B916B237B01}" type="datetime'ML''''''''''''''''''''''''''''''''''X1''''''''''''4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LX14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E0AB6A35-1EF6-8D47-50DE-6996BEDF9588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5257800" y="5086350"/>
            <a:ext cx="3302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A59F469-58BD-443A-A2DA-7E22B588C282}" type="datetime'''''M''''''''''''''''''''L''Z''''''''1''''''''''''5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LZ15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4B157E70-D9A3-7721-48B6-5F39784B2BF5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6765925" y="5086350"/>
            <a:ext cx="3302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CBB570D-E79F-4124-BB7F-136E0BF37F02}" type="datetime'''''''''''''''''''''M''''L''''''''''''''Z''''''''''17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LZ17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8816A9A7-B35E-7308-B961-AAA9E32F8933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11293475" y="5086350"/>
            <a:ext cx="3302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ED2A390-EF23-48BC-8565-C335FB2B2886}" type="datetime'''''''''''''''''M''L''''''''''''''''''''''''Z''2''''3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LZ23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C41B85E6-5B94-AFB0-DD61-74A8F884FB75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10539413" y="5086350"/>
            <a:ext cx="3302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191EBE2-70B4-4F42-A238-4FF1345C3BE8}" type="datetime'''ML''''''''''''''''''''''''Z''''''''''2''''2''''''''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LZ22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7F97EF37-1B2D-1967-541D-AF8F339DE177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9783763" y="5086350"/>
            <a:ext cx="3302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F277BB4-6D22-425A-B9F5-3B24F1EF3150}" type="datetime'M''''''''L''''''''''''''Z''''2''''''''''''''''''''''1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LZ21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3B4A56F5-6141-F765-6B6A-D53AF116A63C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9029700" y="5086350"/>
            <a:ext cx="3302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3D55331-E6C5-477A-8471-DF3176348EB5}" type="datetime'''''''''''M''''''L''''''''''''''Z''''''2''''''''''0''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LZ20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326327E6-C76E-FA50-A502-41EF00B6AFEA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8275638" y="5086350"/>
            <a:ext cx="3302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22C4ADB-097D-4EA7-BF17-D19EE94BEBE0}" type="datetime'''''''''M''''''''''''''''''''''''''''LZ''''''''''''''''1''''9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LZ19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529F6F09-9219-7670-70AC-CE8C74D72A95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6011863" y="5086350"/>
            <a:ext cx="3302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C668E5A-BED8-4375-9765-0BB9A21ECC5B}" type="datetime'''''ML''''Z''''''''''''''1''''''6''''''''''''''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LZ16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778998D2-10DD-18BD-6ECB-24E50F276262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7519988" y="5086350"/>
            <a:ext cx="3302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CAE27DB-EE38-4756-82B0-AECB18F23647}" type="datetime'''''''''''M''''''''''''''LZ''''''''1''8''''''''''''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LZ18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FF877CCB-7A90-15ED-D933-2EBEF210D498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1789113" y="1727200"/>
            <a:ext cx="4762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UR / Ton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1" name="Google Shape;11;p28">
            <a:extLst>
              <a:ext uri="{FF2B5EF4-FFF2-40B4-BE49-F238E27FC236}">
                <a16:creationId xmlns:a16="http://schemas.microsoft.com/office/drawing/2014/main" id="{71E724FC-73E1-AAF5-F5B8-85BA5E899E16}"/>
              </a:ext>
            </a:extLst>
          </p:cNvPr>
          <p:cNvSpPr txBox="1"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2174875" y="3768725"/>
            <a:ext cx="458788" cy="173038"/>
          </a:xfrm>
          <a:prstGeom prst="ellipse">
            <a:avLst/>
          </a:prstGeom>
          <a:solidFill>
            <a:srgbClr val="010A19"/>
          </a:solidFill>
          <a:ln w="9525" cmpd="sng" algn="ctr">
            <a:solidFill>
              <a:srgbClr val="00004B"/>
            </a:solidFill>
          </a:ln>
          <a:effectLst/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EAD9DF1C-69AC-4E79-A2B5-3F236BAA1017}" type="datetime'''''''''''-''''''1''0'''''''''''',''''''''''''6%'''''''''''''">
              <a:rPr kumimoji="0" lang="en-US" altLang="en-US" sz="800" b="1" i="0" u="none" strike="noStrike" kern="0" cap="none" spc="0" normalizeH="0" baseline="0" noProof="0" smtClean="0">
                <a:ln>
                  <a:noFill/>
                </a:ln>
                <a:solidFill>
                  <a:srgbClr val="73DC78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-10,6%</a:t>
            </a:fld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73DC78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D5F462E5-CE3B-2CDA-84DA-87AD6488868E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3724275" y="3902075"/>
            <a:ext cx="377825" cy="173038"/>
          </a:xfrm>
          <a:prstGeom prst="ellipse">
            <a:avLst/>
          </a:prstGeom>
          <a:solidFill>
            <a:srgbClr val="010A19"/>
          </a:solidFill>
          <a:ln w="9525" algn="ctr">
            <a:solidFill>
              <a:srgbClr val="00004B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E0D25C2-BA71-4F76-A3C5-81CD9625C659}" type="datetime'''''''''''-4'''''''''''''''',''''4''''''''''''%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73DC7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-4,4%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73DC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F983952C-ACC0-E283-E8CB-3E67776DA0C4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4438650" y="4129088"/>
            <a:ext cx="458788" cy="173038"/>
          </a:xfrm>
          <a:prstGeom prst="ellipse">
            <a:avLst/>
          </a:prstGeom>
          <a:solidFill>
            <a:srgbClr val="010A19"/>
          </a:solidFill>
          <a:ln w="9525" algn="ctr">
            <a:solidFill>
              <a:srgbClr val="00004B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0B233F4-3544-4D6C-955E-2026E9516060}" type="datetime'''''-''''1''''''''''''''5'''''''''''''',''''7%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73DC7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-15,7%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73DC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" name="Oval 259">
            <a:extLst>
              <a:ext uri="{FF2B5EF4-FFF2-40B4-BE49-F238E27FC236}">
                <a16:creationId xmlns:a16="http://schemas.microsoft.com/office/drawing/2014/main" id="{5BD62F14-BDEF-9339-6336-6273F22CA5F3}"/>
              </a:ext>
            </a:extLst>
          </p:cNvPr>
          <p:cNvSpPr>
            <a:spLocks noGrp="1" noChangeArrowheads="1"/>
          </p:cNvSpPr>
          <p:nvPr>
            <p:custDataLst>
              <p:tags r:id="rId46"/>
            </p:custDataLst>
          </p:nvPr>
        </p:nvSpPr>
        <p:spPr bwMode="auto">
          <a:xfrm>
            <a:off x="5233988" y="4186238"/>
            <a:ext cx="377825" cy="173038"/>
          </a:xfrm>
          <a:prstGeom prst="ellipse">
            <a:avLst/>
          </a:prstGeom>
          <a:solidFill>
            <a:srgbClr val="010A19"/>
          </a:solidFill>
          <a:ln w="9525" algn="ctr">
            <a:solidFill>
              <a:srgbClr val="00004B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85750" indent="-285750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●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76275" indent="-276225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2pPr>
            <a:lvl3pPr marL="1144588" indent="-287338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1619250" indent="-295275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4pPr>
            <a:lvl5pPr marL="2093913" indent="-295275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Char char="•"/>
              <a:defRPr sz="1800">
                <a:solidFill>
                  <a:schemeClr val="tx1"/>
                </a:solidFill>
                <a:latin typeface="+mn-lt"/>
              </a:defRPr>
            </a:lvl5pPr>
            <a:lvl6pPr marL="25511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30083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34655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9227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7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3DC78"/>
              </a:buClr>
              <a:buSzTx/>
              <a:buFont typeface="Arial" charset="0"/>
              <a:buNone/>
              <a:tabLst/>
              <a:defRPr/>
            </a:pPr>
            <a:fld id="{3AE6E56B-E326-45EA-8E94-32D913FFABDA}" type="datetime'''''''''''''''''-''''6'''''''''''''''',0%'''''''''''">
              <a:rPr kumimoji="0" lang="en-US" altLang="en-US" sz="800" b="1" i="0" u="none" strike="noStrike" kern="0" cap="none" spc="0" normalizeH="0" baseline="0" noProof="0" smtClean="0">
                <a:ln>
                  <a:noFill/>
                </a:ln>
                <a:solidFill>
                  <a:srgbClr val="73DC7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572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DC78"/>
                </a:buClr>
                <a:buSzTx/>
                <a:buFont typeface="Arial" charset="0"/>
                <a:buNone/>
                <a:tabLst/>
                <a:defRPr/>
              </a:pPr>
              <a:t>-6,0%</a:t>
            </a:fld>
            <a:endParaRPr kumimoji="0" lang="en-US" altLang="en-US" sz="800" b="1" i="0" u="none" strike="noStrike" kern="0" cap="none" spc="0" normalizeH="0" baseline="0" noProof="0">
              <a:ln>
                <a:noFill/>
              </a:ln>
              <a:solidFill>
                <a:srgbClr val="73DC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FC93674F-470A-0F55-66A5-8ACBF952306F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5988050" y="4486275"/>
            <a:ext cx="377825" cy="173038"/>
          </a:xfrm>
          <a:prstGeom prst="ellipse">
            <a:avLst/>
          </a:prstGeom>
          <a:solidFill>
            <a:srgbClr val="010A19"/>
          </a:solidFill>
          <a:ln w="9525" algn="ctr">
            <a:solidFill>
              <a:srgbClr val="00004B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0F94ADE-FC24-4C13-8BB9-B70A06AE855A}" type="datetime'''-4'''''''''',''''''2''''''''%''''''''''''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73DC7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-4,2%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73DC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6" name="Oval 261">
            <a:extLst>
              <a:ext uri="{FF2B5EF4-FFF2-40B4-BE49-F238E27FC236}">
                <a16:creationId xmlns:a16="http://schemas.microsoft.com/office/drawing/2014/main" id="{73C4107D-6EB0-478A-3256-D80F0C4E64D9}"/>
              </a:ext>
            </a:extLst>
          </p:cNvPr>
          <p:cNvSpPr>
            <a:spLocks noGrp="1" noChangeArrowheads="1"/>
          </p:cNvSpPr>
          <p:nvPr>
            <p:custDataLst>
              <p:tags r:id="rId48"/>
            </p:custDataLst>
          </p:nvPr>
        </p:nvSpPr>
        <p:spPr bwMode="auto">
          <a:xfrm>
            <a:off x="6742113" y="4384675"/>
            <a:ext cx="377825" cy="173038"/>
          </a:xfrm>
          <a:prstGeom prst="ellipse">
            <a:avLst/>
          </a:prstGeom>
          <a:solidFill>
            <a:srgbClr val="010A19"/>
          </a:solidFill>
          <a:ln w="9525" algn="ctr">
            <a:solidFill>
              <a:srgbClr val="00004B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85750" indent="-285750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●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76275" indent="-276225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2pPr>
            <a:lvl3pPr marL="1144588" indent="-287338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1619250" indent="-295275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4pPr>
            <a:lvl5pPr marL="2093913" indent="-295275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Char char="•"/>
              <a:defRPr sz="1800">
                <a:solidFill>
                  <a:schemeClr val="tx1"/>
                </a:solidFill>
                <a:latin typeface="+mn-lt"/>
              </a:defRPr>
            </a:lvl5pPr>
            <a:lvl6pPr marL="25511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30083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34655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9227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7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3DC78"/>
              </a:buClr>
              <a:buSzTx/>
              <a:buFont typeface="Arial" charset="0"/>
              <a:buNone/>
              <a:tabLst/>
              <a:defRPr/>
            </a:pPr>
            <a:fld id="{1A4FDA82-6B3B-4AC7-97BD-F8602BB40AC8}" type="datetime'-''''''''''6'''''''',''''''''''''''''''''4''''''%'">
              <a:rPr kumimoji="0" lang="en-US" altLang="en-US" sz="800" b="1" i="0" u="none" strike="noStrike" kern="0" cap="none" spc="0" normalizeH="0" baseline="0" noProof="0" smtClean="0">
                <a:ln>
                  <a:noFill/>
                </a:ln>
                <a:solidFill>
                  <a:srgbClr val="73DC7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572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DC78"/>
                </a:buClr>
                <a:buSzTx/>
                <a:buFont typeface="Arial" charset="0"/>
                <a:buNone/>
                <a:tabLst/>
                <a:defRPr/>
              </a:pPr>
              <a:t>-6,4%</a:t>
            </a:fld>
            <a:endParaRPr kumimoji="0" lang="en-US" altLang="en-US" sz="800" b="1" i="0" u="none" strike="noStrike" kern="0" cap="none" spc="0" normalizeH="0" baseline="0" noProof="0">
              <a:ln>
                <a:noFill/>
              </a:ln>
              <a:solidFill>
                <a:srgbClr val="73DC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7" name="Oval 263">
            <a:extLst>
              <a:ext uri="{FF2B5EF4-FFF2-40B4-BE49-F238E27FC236}">
                <a16:creationId xmlns:a16="http://schemas.microsoft.com/office/drawing/2014/main" id="{0017212C-F077-90FB-246F-D8E6A73563AD}"/>
              </a:ext>
            </a:extLst>
          </p:cNvPr>
          <p:cNvSpPr>
            <a:spLocks noGrp="1" noChangeArrowheads="1"/>
          </p:cNvSpPr>
          <p:nvPr>
            <p:custDataLst>
              <p:tags r:id="rId49"/>
            </p:custDataLst>
          </p:nvPr>
        </p:nvSpPr>
        <p:spPr bwMode="auto">
          <a:xfrm>
            <a:off x="8251825" y="4283075"/>
            <a:ext cx="377825" cy="173038"/>
          </a:xfrm>
          <a:prstGeom prst="ellipse">
            <a:avLst/>
          </a:prstGeom>
          <a:solidFill>
            <a:srgbClr val="010A19"/>
          </a:solidFill>
          <a:ln w="9525" algn="ctr">
            <a:solidFill>
              <a:srgbClr val="00004B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85750" indent="-285750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●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76275" indent="-276225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2pPr>
            <a:lvl3pPr marL="1144588" indent="-287338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1619250" indent="-295275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4pPr>
            <a:lvl5pPr marL="2093913" indent="-295275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Char char="•"/>
              <a:defRPr sz="1800">
                <a:solidFill>
                  <a:schemeClr val="tx1"/>
                </a:solidFill>
                <a:latin typeface="+mn-lt"/>
              </a:defRPr>
            </a:lvl5pPr>
            <a:lvl6pPr marL="25511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30083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34655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9227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7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3DC78"/>
              </a:buClr>
              <a:buSzTx/>
              <a:buFont typeface="Arial" charset="0"/>
              <a:buNone/>
              <a:tabLst/>
              <a:defRPr/>
            </a:pPr>
            <a:fld id="{15D8B9D4-630E-4C10-B5EC-408575FF09C6}" type="datetime'''''''''-2'',''''''''''''''''''''''4''''''''''''''''%'">
              <a:rPr kumimoji="0" lang="en-US" altLang="en-US" sz="800" b="1" i="0" u="none" strike="noStrike" kern="0" cap="none" spc="0" normalizeH="0" baseline="0" noProof="0" smtClean="0">
                <a:ln>
                  <a:noFill/>
                </a:ln>
                <a:solidFill>
                  <a:srgbClr val="73DC7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572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DC78"/>
                </a:buClr>
                <a:buSzTx/>
                <a:buFont typeface="Arial" charset="0"/>
                <a:buNone/>
                <a:tabLst/>
                <a:defRPr/>
              </a:pPr>
              <a:t>-2,4%</a:t>
            </a:fld>
            <a:endParaRPr kumimoji="0" lang="en-US" altLang="en-US" sz="800" b="1" i="0" u="none" strike="noStrike" kern="0" cap="none" spc="0" normalizeH="0" baseline="0" noProof="0">
              <a:ln>
                <a:noFill/>
              </a:ln>
              <a:solidFill>
                <a:srgbClr val="73DC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Google Shape;11;p28">
            <a:extLst>
              <a:ext uri="{FF2B5EF4-FFF2-40B4-BE49-F238E27FC236}">
                <a16:creationId xmlns:a16="http://schemas.microsoft.com/office/drawing/2014/main" id="{BE6ADB9F-1240-8C48-ECE4-C676484BD4A0}"/>
              </a:ext>
            </a:extLst>
          </p:cNvPr>
          <p:cNvSpPr txBox="1"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10515600" y="1560513"/>
            <a:ext cx="377825" cy="173038"/>
          </a:xfrm>
          <a:prstGeom prst="ellipse">
            <a:avLst/>
          </a:prstGeom>
          <a:solidFill>
            <a:srgbClr val="010A19"/>
          </a:solidFill>
          <a:ln w="9525" cmpd="sng" algn="ctr">
            <a:solidFill>
              <a:srgbClr val="00004B"/>
            </a:solidFill>
          </a:ln>
          <a:effectLst/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18CCFC7F-F836-4087-8B0F-005D366214AB}" type="datetime'-''''''''''''''''''''''''1'''''''''''''''''''',''3''''''''%'''">
              <a:rPr kumimoji="0" lang="en-US" altLang="en-US" sz="800" b="1" i="0" u="none" strike="noStrike" kern="0" cap="none" spc="0" normalizeH="0" baseline="0" noProof="0" smtClean="0">
                <a:ln>
                  <a:noFill/>
                </a:ln>
                <a:solidFill>
                  <a:srgbClr val="73DC78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-1,3%</a:t>
            </a:fld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73DC78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59" name="Google Shape;11;p28">
            <a:extLst>
              <a:ext uri="{FF2B5EF4-FFF2-40B4-BE49-F238E27FC236}">
                <a16:creationId xmlns:a16="http://schemas.microsoft.com/office/drawing/2014/main" id="{44851878-8FD4-2F0E-A292-B3D0DF5CDA48}"/>
              </a:ext>
            </a:extLst>
          </p:cNvPr>
          <p:cNvSpPr txBox="1"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11269663" y="3168650"/>
            <a:ext cx="377825" cy="173038"/>
          </a:xfrm>
          <a:prstGeom prst="ellipse">
            <a:avLst/>
          </a:prstGeom>
          <a:solidFill>
            <a:srgbClr val="010A19"/>
          </a:solidFill>
          <a:ln w="9525" algn="ctr">
            <a:solidFill>
              <a:srgbClr val="00004B"/>
            </a:solidFill>
          </a:ln>
          <a:effectLst/>
        </p:spPr>
        <p:txBody>
          <a:bodyPr spcFirstLastPara="1" vert="horz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D96CCFE2-85A3-472B-A65B-579B35212E80}" type="datetime'''''-''''''5'''''''''''''''''''''''',''4''%'''''''''">
              <a:rPr kumimoji="0" lang="en-US" altLang="en-US" sz="800" b="1" i="0" u="none" strike="noStrike" kern="0" cap="none" spc="0" normalizeH="0" baseline="0" noProof="0" smtClean="0">
                <a:ln>
                  <a:noFill/>
                </a:ln>
                <a:solidFill>
                  <a:srgbClr val="73DC78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-5,4%</a:t>
            </a:fld>
            <a:endParaRPr kumimoji="0" lang="en-US" sz="800" b="1" i="0" u="none" strike="noStrike" kern="0" cap="none" spc="0" normalizeH="0" baseline="0" noProof="0">
              <a:ln>
                <a:noFill/>
              </a:ln>
              <a:solidFill>
                <a:srgbClr val="73DC78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60" name="Rectangle 265">
            <a:extLst>
              <a:ext uri="{FF2B5EF4-FFF2-40B4-BE49-F238E27FC236}">
                <a16:creationId xmlns:a16="http://schemas.microsoft.com/office/drawing/2014/main" id="{45FDA531-1725-6DEC-3C79-B949B08CE0D3}"/>
              </a:ext>
            </a:extLst>
          </p:cNvPr>
          <p:cNvSpPr/>
          <p:nvPr/>
        </p:nvSpPr>
        <p:spPr bwMode="auto">
          <a:xfrm>
            <a:off x="3521075" y="1543050"/>
            <a:ext cx="3730625" cy="3517900"/>
          </a:xfrm>
          <a:prstGeom prst="rect">
            <a:avLst/>
          </a:prstGeom>
          <a:noFill/>
          <a:ln w="19050" cap="flat" cmpd="sng" algn="ctr">
            <a:solidFill>
              <a:srgbClr val="0087F1"/>
            </a:solidFill>
            <a:prstDash val="sysDot"/>
            <a:headEnd type="none" w="sm" len="sm"/>
            <a:tailEnd type="none" w="sm" len="sm"/>
          </a:ln>
          <a:effectLst/>
        </p:spPr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defTabSz="9572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F7800"/>
              </a:buClr>
              <a:buSzTx/>
              <a:buFont typeface="Arial" charset="0"/>
              <a:buChar char="●"/>
              <a:tabLst/>
              <a:defRPr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solidFill>
                <a:srgbClr val="62646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61" name="Group 266">
            <a:extLst>
              <a:ext uri="{FF2B5EF4-FFF2-40B4-BE49-F238E27FC236}">
                <a16:creationId xmlns:a16="http://schemas.microsoft.com/office/drawing/2014/main" id="{1C30AEBA-DC31-663A-382F-F7295238A1BF}"/>
              </a:ext>
            </a:extLst>
          </p:cNvPr>
          <p:cNvGrpSpPr/>
          <p:nvPr/>
        </p:nvGrpSpPr>
        <p:grpSpPr>
          <a:xfrm>
            <a:off x="5343525" y="1628775"/>
            <a:ext cx="284163" cy="274638"/>
            <a:chOff x="4251860" y="1995798"/>
            <a:chExt cx="509964" cy="509964"/>
          </a:xfrm>
        </p:grpSpPr>
        <p:sp>
          <p:nvSpPr>
            <p:cNvPr id="62" name="Oval 267">
              <a:extLst>
                <a:ext uri="{FF2B5EF4-FFF2-40B4-BE49-F238E27FC236}">
                  <a16:creationId xmlns:a16="http://schemas.microsoft.com/office/drawing/2014/main" id="{99D534E6-B8B3-CA74-3345-5FFC7B829A8E}"/>
                </a:ext>
              </a:extLst>
            </p:cNvPr>
            <p:cNvSpPr/>
            <p:nvPr/>
          </p:nvSpPr>
          <p:spPr>
            <a:xfrm>
              <a:off x="4251860" y="1995798"/>
              <a:ext cx="509964" cy="509964"/>
            </a:xfrm>
            <a:prstGeom prst="ellipse">
              <a:avLst/>
            </a:prstGeom>
            <a:solidFill>
              <a:srgbClr val="0087F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10A1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63" name="Graphic 268">
              <a:extLst>
                <a:ext uri="{FF2B5EF4-FFF2-40B4-BE49-F238E27FC236}">
                  <a16:creationId xmlns:a16="http://schemas.microsoft.com/office/drawing/2014/main" id="{3CE97032-9523-FECB-0BCA-C5E5D7E91909}"/>
                </a:ext>
              </a:extLst>
            </p:cNvPr>
            <p:cNvPicPr>
              <a:picLocks noChangeAspect="1"/>
            </p:cNvPicPr>
            <p:nvPr/>
          </p:nvPicPr>
          <p:blipFill>
            <a:blip r:embed="rId6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1"/>
                </a:ext>
              </a:extLst>
            </a:blip>
            <a:stretch>
              <a:fillRect/>
            </a:stretch>
          </p:blipFill>
          <p:spPr>
            <a:xfrm>
              <a:off x="4388165" y="2121256"/>
              <a:ext cx="237353" cy="237353"/>
            </a:xfrm>
            <a:prstGeom prst="rect">
              <a:avLst/>
            </a:prstGeom>
          </p:spPr>
        </p:pic>
      </p:grpSp>
      <p:sp>
        <p:nvSpPr>
          <p:cNvPr id="64" name="Rectangle 273">
            <a:extLst>
              <a:ext uri="{FF2B5EF4-FFF2-40B4-BE49-F238E27FC236}">
                <a16:creationId xmlns:a16="http://schemas.microsoft.com/office/drawing/2014/main" id="{B0D8CF98-B520-0095-3FC8-FA3852E7B523}"/>
              </a:ext>
            </a:extLst>
          </p:cNvPr>
          <p:cNvSpPr/>
          <p:nvPr/>
        </p:nvSpPr>
        <p:spPr bwMode="auto">
          <a:xfrm>
            <a:off x="10296525" y="1543050"/>
            <a:ext cx="1562100" cy="3517900"/>
          </a:xfrm>
          <a:prstGeom prst="rect">
            <a:avLst/>
          </a:prstGeom>
          <a:noFill/>
          <a:ln w="19050" cap="flat" cmpd="sng" algn="ctr">
            <a:solidFill>
              <a:srgbClr val="0087F1"/>
            </a:solidFill>
            <a:prstDash val="sysDot"/>
            <a:headEnd type="none" w="sm" len="sm"/>
            <a:tailEnd type="none" w="sm" len="sm"/>
          </a:ln>
          <a:effectLst/>
        </p:spPr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defTabSz="9572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F7800"/>
              </a:buClr>
              <a:buSzTx/>
              <a:buFont typeface="Arial" charset="0"/>
              <a:buChar char="●"/>
              <a:tabLst/>
              <a:defRPr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solidFill>
                <a:srgbClr val="62646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65" name="Group 274">
            <a:extLst>
              <a:ext uri="{FF2B5EF4-FFF2-40B4-BE49-F238E27FC236}">
                <a16:creationId xmlns:a16="http://schemas.microsoft.com/office/drawing/2014/main" id="{1F3F16DF-5F68-ED8D-D94E-9C809B4A4E4B}"/>
              </a:ext>
            </a:extLst>
          </p:cNvPr>
          <p:cNvGrpSpPr/>
          <p:nvPr/>
        </p:nvGrpSpPr>
        <p:grpSpPr>
          <a:xfrm>
            <a:off x="11039475" y="1628775"/>
            <a:ext cx="284163" cy="274638"/>
            <a:chOff x="4251860" y="1995798"/>
            <a:chExt cx="509964" cy="509964"/>
          </a:xfrm>
        </p:grpSpPr>
        <p:sp>
          <p:nvSpPr>
            <p:cNvPr id="66" name="Oval 275">
              <a:extLst>
                <a:ext uri="{FF2B5EF4-FFF2-40B4-BE49-F238E27FC236}">
                  <a16:creationId xmlns:a16="http://schemas.microsoft.com/office/drawing/2014/main" id="{C0615EC2-E9E5-BF11-7DFD-C9EEB70FB0A0}"/>
                </a:ext>
              </a:extLst>
            </p:cNvPr>
            <p:cNvSpPr/>
            <p:nvPr/>
          </p:nvSpPr>
          <p:spPr>
            <a:xfrm>
              <a:off x="4251860" y="1995798"/>
              <a:ext cx="509964" cy="509964"/>
            </a:xfrm>
            <a:prstGeom prst="ellipse">
              <a:avLst/>
            </a:prstGeom>
            <a:solidFill>
              <a:srgbClr val="0087F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10A1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67" name="Graphic 276">
              <a:extLst>
                <a:ext uri="{FF2B5EF4-FFF2-40B4-BE49-F238E27FC236}">
                  <a16:creationId xmlns:a16="http://schemas.microsoft.com/office/drawing/2014/main" id="{6E46B7B5-1EE7-5F8E-AA9C-AFE06FEE44BB}"/>
                </a:ext>
              </a:extLst>
            </p:cNvPr>
            <p:cNvPicPr>
              <a:picLocks noChangeAspect="1"/>
            </p:cNvPicPr>
            <p:nvPr/>
          </p:nvPicPr>
          <p:blipFill>
            <a:blip r:embed="rId6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1"/>
                </a:ext>
              </a:extLst>
            </a:blip>
            <a:stretch>
              <a:fillRect/>
            </a:stretch>
          </p:blipFill>
          <p:spPr>
            <a:xfrm>
              <a:off x="4388165" y="2121256"/>
              <a:ext cx="237353" cy="237353"/>
            </a:xfrm>
            <a:prstGeom prst="rect">
              <a:avLst/>
            </a:prstGeom>
          </p:spPr>
        </p:pic>
      </p:grpSp>
      <p:sp>
        <p:nvSpPr>
          <p:cNvPr id="68" name="Arrow: Chevron 171">
            <a:extLst>
              <a:ext uri="{FF2B5EF4-FFF2-40B4-BE49-F238E27FC236}">
                <a16:creationId xmlns:a16="http://schemas.microsoft.com/office/drawing/2014/main" id="{3B06391F-AC72-2424-2481-69903AD56AB5}"/>
              </a:ext>
            </a:extLst>
          </p:cNvPr>
          <p:cNvSpPr/>
          <p:nvPr/>
        </p:nvSpPr>
        <p:spPr>
          <a:xfrm>
            <a:off x="228600" y="1343025"/>
            <a:ext cx="1393824" cy="4164013"/>
          </a:xfrm>
          <a:prstGeom prst="chevron">
            <a:avLst>
              <a:gd name="adj" fmla="val 0"/>
            </a:avLst>
          </a:prstGeom>
          <a:solidFill>
            <a:srgbClr val="ABB6BA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ЗоРРО Классический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50" b="1" kern="0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Декабрьский индекс</a:t>
            </a: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69" name="Rectangle 357">
            <a:extLst>
              <a:ext uri="{FF2B5EF4-FFF2-40B4-BE49-F238E27FC236}">
                <a16:creationId xmlns:a16="http://schemas.microsoft.com/office/drawing/2014/main" id="{3BABEEB5-4072-29AE-1F4D-C8AAE47A12E7}"/>
              </a:ext>
            </a:extLst>
          </p:cNvPr>
          <p:cNvSpPr/>
          <p:nvPr/>
        </p:nvSpPr>
        <p:spPr bwMode="auto">
          <a:xfrm>
            <a:off x="2047875" y="1543050"/>
            <a:ext cx="744538" cy="3517900"/>
          </a:xfrm>
          <a:prstGeom prst="rect">
            <a:avLst/>
          </a:prstGeom>
          <a:noFill/>
          <a:ln w="19050" cap="flat" cmpd="sng" algn="ctr">
            <a:solidFill>
              <a:srgbClr val="0087F1"/>
            </a:solidFill>
            <a:prstDash val="sysDot"/>
            <a:headEnd type="none" w="sm" len="sm"/>
            <a:tailEnd type="none" w="sm" len="sm"/>
          </a:ln>
          <a:effectLst/>
        </p:spPr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defTabSz="9572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F7800"/>
              </a:buClr>
              <a:buSzTx/>
              <a:buFont typeface="Arial" charset="0"/>
              <a:buChar char="●"/>
              <a:tabLst/>
              <a:defRPr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solidFill>
                <a:srgbClr val="62646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70" name="Group 358">
            <a:extLst>
              <a:ext uri="{FF2B5EF4-FFF2-40B4-BE49-F238E27FC236}">
                <a16:creationId xmlns:a16="http://schemas.microsoft.com/office/drawing/2014/main" id="{B1E7428D-2BE0-6560-FAF4-F50BBAB58B3C}"/>
              </a:ext>
            </a:extLst>
          </p:cNvPr>
          <p:cNvGrpSpPr/>
          <p:nvPr/>
        </p:nvGrpSpPr>
        <p:grpSpPr>
          <a:xfrm>
            <a:off x="2279650" y="1592263"/>
            <a:ext cx="284163" cy="274638"/>
            <a:chOff x="4251860" y="1995798"/>
            <a:chExt cx="509964" cy="509964"/>
          </a:xfrm>
        </p:grpSpPr>
        <p:sp>
          <p:nvSpPr>
            <p:cNvPr id="71" name="Oval 359">
              <a:extLst>
                <a:ext uri="{FF2B5EF4-FFF2-40B4-BE49-F238E27FC236}">
                  <a16:creationId xmlns:a16="http://schemas.microsoft.com/office/drawing/2014/main" id="{48886267-7ACC-FB68-1669-14ECA83693E2}"/>
                </a:ext>
              </a:extLst>
            </p:cNvPr>
            <p:cNvSpPr/>
            <p:nvPr/>
          </p:nvSpPr>
          <p:spPr>
            <a:xfrm>
              <a:off x="4251860" y="1995798"/>
              <a:ext cx="509964" cy="509964"/>
            </a:xfrm>
            <a:prstGeom prst="ellipse">
              <a:avLst/>
            </a:prstGeom>
            <a:solidFill>
              <a:srgbClr val="0087F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10A1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72" name="Graphic 360">
              <a:extLst>
                <a:ext uri="{FF2B5EF4-FFF2-40B4-BE49-F238E27FC236}">
                  <a16:creationId xmlns:a16="http://schemas.microsoft.com/office/drawing/2014/main" id="{2D6FDD44-06FD-5E3B-880F-ED070AE541AC}"/>
                </a:ext>
              </a:extLst>
            </p:cNvPr>
            <p:cNvPicPr>
              <a:picLocks noChangeAspect="1"/>
            </p:cNvPicPr>
            <p:nvPr/>
          </p:nvPicPr>
          <p:blipFill>
            <a:blip r:embed="rId6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1"/>
                </a:ext>
              </a:extLst>
            </a:blip>
            <a:stretch>
              <a:fillRect/>
            </a:stretch>
          </p:blipFill>
          <p:spPr>
            <a:xfrm>
              <a:off x="4388165" y="2121256"/>
              <a:ext cx="237353" cy="237353"/>
            </a:xfrm>
            <a:prstGeom prst="rect">
              <a:avLst/>
            </a:prstGeom>
          </p:spPr>
        </p:pic>
      </p:grpSp>
      <p:sp>
        <p:nvSpPr>
          <p:cNvPr id="73" name="Rectangle 330">
            <a:extLst>
              <a:ext uri="{FF2B5EF4-FFF2-40B4-BE49-F238E27FC236}">
                <a16:creationId xmlns:a16="http://schemas.microsoft.com/office/drawing/2014/main" id="{1D1088A0-F76C-7827-4A4E-2B43EB2701B5}"/>
              </a:ext>
            </a:extLst>
          </p:cNvPr>
          <p:cNvSpPr/>
          <p:nvPr>
            <p:custDataLst>
              <p:tags r:id="rId52"/>
            </p:custDataLst>
          </p:nvPr>
        </p:nvSpPr>
        <p:spPr bwMode="auto">
          <a:xfrm>
            <a:off x="4541838" y="5272088"/>
            <a:ext cx="142875" cy="106363"/>
          </a:xfrm>
          <a:prstGeom prst="rect">
            <a:avLst/>
          </a:prstGeom>
          <a:solidFill>
            <a:srgbClr val="2000F5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10A1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4" name="Rectangle 331">
            <a:extLst>
              <a:ext uri="{FF2B5EF4-FFF2-40B4-BE49-F238E27FC236}">
                <a16:creationId xmlns:a16="http://schemas.microsoft.com/office/drawing/2014/main" id="{ED668E7A-42CD-6F7B-62F9-1BC2ED9CCE69}"/>
              </a:ext>
            </a:extLst>
          </p:cNvPr>
          <p:cNvSpPr/>
          <p:nvPr>
            <p:custDataLst>
              <p:tags r:id="rId53"/>
            </p:custDataLst>
          </p:nvPr>
        </p:nvSpPr>
        <p:spPr bwMode="auto">
          <a:xfrm>
            <a:off x="6991350" y="5272088"/>
            <a:ext cx="142875" cy="106363"/>
          </a:xfrm>
          <a:prstGeom prst="rect">
            <a:avLst/>
          </a:prstGeom>
          <a:solidFill>
            <a:srgbClr val="8CEF8E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10A1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5" name="Google Shape;11;p28">
            <a:extLst>
              <a:ext uri="{FF2B5EF4-FFF2-40B4-BE49-F238E27FC236}">
                <a16:creationId xmlns:a16="http://schemas.microsoft.com/office/drawing/2014/main" id="{5A6055DB-B716-D274-778C-5C1F8FB96E3D}"/>
              </a:ext>
            </a:extLst>
          </p:cNvPr>
          <p:cNvSpPr txBox="1"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4735513" y="5267325"/>
            <a:ext cx="21542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45BBE3B2-01B7-4602-98EA-2530A2753CD9}" type="datetime'CLA''SSIC ''P''rice ''Fixa''tion Average 19.02'''' - 09.08'' '">
              <a:rPr kumimoji="0" lang="en-US" alt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CLASSIC Price Fixation Average 19.02 - 09.08 </a:t>
            </a:fld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76" name="Google Shape;11;p28">
            <a:extLst>
              <a:ext uri="{FF2B5EF4-FFF2-40B4-BE49-F238E27FC236}">
                <a16:creationId xmlns:a16="http://schemas.microsoft.com/office/drawing/2014/main" id="{6F42AFAB-0152-2755-D777-94D207F4E8C5}"/>
              </a:ext>
            </a:extLst>
          </p:cNvPr>
          <p:cNvSpPr txBox="1"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7185025" y="5267325"/>
            <a:ext cx="15843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8EDAE05C-8DC3-46F8-AF37-B7A61000DB26}" type="datetime'Se''ttl''eme''nt '' Ave''r''ag''e 11.0''''9 –'' 3''1.''''10'">
              <a:rPr kumimoji="0" lang="en-US" alt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Settlement  Average 11.09 – 31.10</a:t>
            </a:fld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77" name="Rectangle 332">
            <a:extLst>
              <a:ext uri="{FF2B5EF4-FFF2-40B4-BE49-F238E27FC236}">
                <a16:creationId xmlns:a16="http://schemas.microsoft.com/office/drawing/2014/main" id="{6942D51E-2612-D33F-6C3B-FF7E531E8915}"/>
              </a:ext>
            </a:extLst>
          </p:cNvPr>
          <p:cNvSpPr/>
          <p:nvPr/>
        </p:nvSpPr>
        <p:spPr bwMode="auto">
          <a:xfrm>
            <a:off x="8066088" y="1543050"/>
            <a:ext cx="744538" cy="3517900"/>
          </a:xfrm>
          <a:prstGeom prst="rect">
            <a:avLst/>
          </a:prstGeom>
          <a:noFill/>
          <a:ln w="19050" cap="flat" cmpd="sng" algn="ctr">
            <a:solidFill>
              <a:srgbClr val="0087F1"/>
            </a:solidFill>
            <a:prstDash val="sysDot"/>
            <a:headEnd type="none" w="sm" len="sm"/>
            <a:tailEnd type="none" w="sm" len="sm"/>
          </a:ln>
          <a:effectLst/>
        </p:spPr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defTabSz="9572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F7800"/>
              </a:buClr>
              <a:buSzTx/>
              <a:buFont typeface="Arial" charset="0"/>
              <a:buChar char="●"/>
              <a:tabLst/>
              <a:defRPr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solidFill>
                <a:srgbClr val="62646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78" name="Group 333">
            <a:extLst>
              <a:ext uri="{FF2B5EF4-FFF2-40B4-BE49-F238E27FC236}">
                <a16:creationId xmlns:a16="http://schemas.microsoft.com/office/drawing/2014/main" id="{665A5788-2812-F7B4-1C38-720CE6B59421}"/>
              </a:ext>
            </a:extLst>
          </p:cNvPr>
          <p:cNvGrpSpPr/>
          <p:nvPr/>
        </p:nvGrpSpPr>
        <p:grpSpPr>
          <a:xfrm>
            <a:off x="8286750" y="1628775"/>
            <a:ext cx="284163" cy="274638"/>
            <a:chOff x="4251860" y="1995798"/>
            <a:chExt cx="509964" cy="509964"/>
          </a:xfrm>
        </p:grpSpPr>
        <p:sp>
          <p:nvSpPr>
            <p:cNvPr id="79" name="Oval 338">
              <a:extLst>
                <a:ext uri="{FF2B5EF4-FFF2-40B4-BE49-F238E27FC236}">
                  <a16:creationId xmlns:a16="http://schemas.microsoft.com/office/drawing/2014/main" id="{2384F32C-F52C-A2ED-7DD4-815124235A0D}"/>
                </a:ext>
              </a:extLst>
            </p:cNvPr>
            <p:cNvSpPr/>
            <p:nvPr/>
          </p:nvSpPr>
          <p:spPr>
            <a:xfrm>
              <a:off x="4251860" y="1995798"/>
              <a:ext cx="509964" cy="509964"/>
            </a:xfrm>
            <a:prstGeom prst="ellipse">
              <a:avLst/>
            </a:prstGeom>
            <a:solidFill>
              <a:srgbClr val="0087F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10A1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80" name="Graphic 339">
              <a:extLst>
                <a:ext uri="{FF2B5EF4-FFF2-40B4-BE49-F238E27FC236}">
                  <a16:creationId xmlns:a16="http://schemas.microsoft.com/office/drawing/2014/main" id="{1E114CEA-119A-77F5-8295-037EA65F6A86}"/>
                </a:ext>
              </a:extLst>
            </p:cNvPr>
            <p:cNvPicPr>
              <a:picLocks noChangeAspect="1"/>
            </p:cNvPicPr>
            <p:nvPr/>
          </p:nvPicPr>
          <p:blipFill>
            <a:blip r:embed="rId6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1"/>
                </a:ext>
              </a:extLst>
            </a:blip>
            <a:stretch>
              <a:fillRect/>
            </a:stretch>
          </p:blipFill>
          <p:spPr>
            <a:xfrm>
              <a:off x="4388165" y="2121256"/>
              <a:ext cx="237353" cy="237353"/>
            </a:xfrm>
            <a:prstGeom prst="rect">
              <a:avLst/>
            </a:prstGeom>
          </p:spPr>
        </p:pic>
      </p:grpSp>
      <p:pic>
        <p:nvPicPr>
          <p:cNvPr id="81" name="Picture 2">
            <a:extLst>
              <a:ext uri="{FF2B5EF4-FFF2-40B4-BE49-F238E27FC236}">
                <a16:creationId xmlns:a16="http://schemas.microsoft.com/office/drawing/2014/main" id="{8D6219F0-D6FF-9408-25A8-065497290D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3633" y="5970048"/>
            <a:ext cx="661986" cy="2052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" name="Graphic 145">
            <a:extLst>
              <a:ext uri="{FF2B5EF4-FFF2-40B4-BE49-F238E27FC236}">
                <a16:creationId xmlns:a16="http://schemas.microsoft.com/office/drawing/2014/main" id="{F7221055-BC38-674B-A42D-82222B517A10}"/>
              </a:ext>
            </a:extLst>
          </p:cNvPr>
          <p:cNvPicPr>
            <a:picLocks noChangeAspect="1"/>
          </p:cNvPicPr>
          <p:nvPr/>
        </p:nvPicPr>
        <p:blipFill>
          <a:blip r:embed="rId6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4"/>
              </a:ext>
            </a:extLst>
          </a:blip>
          <a:stretch>
            <a:fillRect/>
          </a:stretch>
        </p:blipFill>
        <p:spPr>
          <a:xfrm>
            <a:off x="11110346" y="451721"/>
            <a:ext cx="600239" cy="600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412159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8CF68CC2-BEE3-4452-99C6-F5F57DA7E6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8CF68CC2-BEE3-4452-99C6-F5F57DA7E6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C9DE973-1678-43B7-BA44-642A63B6AC3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GB" dirty="0"/>
              <a:t>CLASSIFICATION: </a:t>
            </a:r>
            <a:r>
              <a:rPr lang="en-US" dirty="0"/>
              <a:t>PUBLIC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98FEDB-51C4-491A-B248-445386F35B2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9C47F3-E74D-462A-9E9A-E7164C68AF73}" type="slidenum">
              <a:rPr lang="en-GB" smtClean="0"/>
              <a:pPr/>
              <a:t>13</a:t>
            </a:fld>
            <a:endParaRPr lang="en-GB"/>
          </a:p>
        </p:txBody>
      </p:sp>
      <p:pic>
        <p:nvPicPr>
          <p:cNvPr id="11" name="Picture 3">
            <a:extLst>
              <a:ext uri="{FF2B5EF4-FFF2-40B4-BE49-F238E27FC236}">
                <a16:creationId xmlns:a16="http://schemas.microsoft.com/office/drawing/2014/main" id="{F39515DF-0D4E-8DB7-69CD-E874945FAA0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567" r="9176" b="3135"/>
          <a:stretch/>
        </p:blipFill>
        <p:spPr>
          <a:xfrm>
            <a:off x="-5132" y="0"/>
            <a:ext cx="12193561" cy="6857999"/>
          </a:xfrm>
          <a:prstGeom prst="rect">
            <a:avLst/>
          </a:prstGeom>
        </p:spPr>
      </p:pic>
      <p:pic>
        <p:nvPicPr>
          <p:cNvPr id="15" name="Picture 2" descr="A green and black logo&#10;&#10;Description automatically generated">
            <a:extLst>
              <a:ext uri="{FF2B5EF4-FFF2-40B4-BE49-F238E27FC236}">
                <a16:creationId xmlns:a16="http://schemas.microsoft.com/office/drawing/2014/main" id="{9999417B-65A7-AAE0-F3F7-CCBE41488FD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1371" y="0"/>
            <a:ext cx="3467322" cy="1660124"/>
          </a:xfrm>
          <a:prstGeom prst="rect">
            <a:avLst/>
          </a:prstGeom>
        </p:spPr>
      </p:pic>
      <p:sp>
        <p:nvSpPr>
          <p:cNvPr id="16" name="Rectangle 4">
            <a:extLst>
              <a:ext uri="{FF2B5EF4-FFF2-40B4-BE49-F238E27FC236}">
                <a16:creationId xmlns:a16="http://schemas.microsoft.com/office/drawing/2014/main" id="{01140300-7DE9-69CB-BC7E-2B66DC716884}"/>
              </a:ext>
            </a:extLst>
          </p:cNvPr>
          <p:cNvSpPr/>
          <p:nvPr/>
        </p:nvSpPr>
        <p:spPr>
          <a:xfrm>
            <a:off x="-15396" y="1"/>
            <a:ext cx="12193560" cy="6857999"/>
          </a:xfrm>
          <a:prstGeom prst="rect">
            <a:avLst/>
          </a:prstGeom>
          <a:gradFill flip="none" rotWithShape="1">
            <a:gsLst>
              <a:gs pos="0">
                <a:srgbClr val="010A19">
                  <a:alpha val="65765"/>
                </a:srgbClr>
              </a:gs>
              <a:gs pos="28000">
                <a:schemeClr val="bg1">
                  <a:alpha val="17581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5598C99-22A7-DF3E-BE12-828586BA77E1}"/>
              </a:ext>
            </a:extLst>
          </p:cNvPr>
          <p:cNvSpPr txBox="1"/>
          <p:nvPr/>
        </p:nvSpPr>
        <p:spPr>
          <a:xfrm>
            <a:off x="126141" y="6104241"/>
            <a:ext cx="521821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b="1" kern="0" dirty="0">
                <a:solidFill>
                  <a:schemeClr val="bg1"/>
                </a:solidFill>
              </a:rPr>
              <a:t>Уверенно инвестируйте в качественный урожай вместе с ЗоРРО</a:t>
            </a:r>
            <a:r>
              <a:rPr lang="ru-RU" sz="1400" dirty="0">
                <a:solidFill>
                  <a:schemeClr val="bg1"/>
                </a:solidFill>
              </a:rPr>
              <a:t>®</a:t>
            </a:r>
            <a:r>
              <a:rPr lang="ru-RU" sz="1400" b="1" kern="0" dirty="0">
                <a:solidFill>
                  <a:schemeClr val="bg1"/>
                </a:solidFill>
              </a:rPr>
              <a:t> от компании «Сингента»</a:t>
            </a:r>
            <a:endParaRPr lang="en-US" sz="1400" b="1" kern="0" dirty="0">
              <a:solidFill>
                <a:schemeClr val="bg1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A1EA287-D9AA-AB7D-955A-0138989A6037}"/>
              </a:ext>
            </a:extLst>
          </p:cNvPr>
          <p:cNvSpPr txBox="1"/>
          <p:nvPr/>
        </p:nvSpPr>
        <p:spPr>
          <a:xfrm>
            <a:off x="456094" y="3212672"/>
            <a:ext cx="856361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4800" b="1" kern="0" dirty="0">
                <a:solidFill>
                  <a:schemeClr val="bg1"/>
                </a:solidFill>
              </a:rPr>
              <a:t>Благодарю за внимание!</a:t>
            </a:r>
            <a:endParaRPr lang="en-US" sz="4800" b="1" kern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97509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8CF68CC2-BEE3-4452-99C6-F5F57DA7E6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8CF68CC2-BEE3-4452-99C6-F5F57DA7E6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0F76E665-4FE2-4643-AB4A-F32B032386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1649" y="176832"/>
            <a:ext cx="10132980" cy="649792"/>
          </a:xfrm>
        </p:spPr>
        <p:txBody>
          <a:bodyPr vert="horz"/>
          <a:lstStyle/>
          <a:p>
            <a:r>
              <a:rPr lang="ru-RU" sz="1600" dirty="0">
                <a:latin typeface="+mn-lt"/>
                <a:ea typeface="+mn-ea"/>
                <a:cs typeface="+mn-cs"/>
              </a:rPr>
              <a:t>Программа защиты рыночных рисков «ЗоРРО®» предлагает своим участникам простое решение для защиты инвестиций в продукты компании «Сингента» в течении всего полевого сезона. </a:t>
            </a:r>
            <a:br>
              <a:rPr lang="ru-RU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en-US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98FEDB-51C4-491A-B248-445386F35B2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9C47F3-E74D-462A-9E9A-E7164C68AF73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5C5F6D2-72F1-4AE0-8547-054FDFD88BB0}"/>
              </a:ext>
            </a:extLst>
          </p:cNvPr>
          <p:cNvSpPr txBox="1"/>
          <p:nvPr/>
        </p:nvSpPr>
        <p:spPr>
          <a:xfrm>
            <a:off x="268989" y="877863"/>
            <a:ext cx="11604902" cy="92153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just">
              <a:spcAft>
                <a:spcPts val="600"/>
              </a:spcAft>
            </a:pPr>
            <a:r>
              <a:rPr lang="ru-RU" sz="1600" dirty="0"/>
              <a:t>Участник программы «ЗоРРО®» может получить до </a:t>
            </a:r>
            <a:r>
              <a:rPr lang="ru-RU" sz="1600" b="1" dirty="0"/>
              <a:t>15 %</a:t>
            </a:r>
            <a:r>
              <a:rPr lang="ru-RU" sz="1600" dirty="0"/>
              <a:t> кэшбека в виде бонусной выплаты от понесенных на закупку СЗР затрат по всем продуктам компании «Сингента», если мировые цены на пшеницу или кукурузу в конце сезона снизятся относительно зафиксированного участником значения.</a:t>
            </a:r>
          </a:p>
          <a:p>
            <a:pPr algn="just">
              <a:spcAft>
                <a:spcPts val="600"/>
              </a:spcAft>
            </a:pPr>
            <a:endParaRPr lang="en-US" sz="20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E10E0DE-C1D9-4CE9-8B30-56C9913E27C3}"/>
              </a:ext>
            </a:extLst>
          </p:cNvPr>
          <p:cNvSpPr txBox="1"/>
          <p:nvPr/>
        </p:nvSpPr>
        <p:spPr>
          <a:xfrm>
            <a:off x="745724" y="5986357"/>
            <a:ext cx="11274641" cy="418734"/>
          </a:xfrm>
          <a:prstGeom prst="rect">
            <a:avLst/>
          </a:prstGeom>
          <a:noFill/>
        </p:spPr>
        <p:txBody>
          <a:bodyPr wrap="square" rtlCol="0" anchor="ctr">
            <a:normAutofit fontScale="85000" lnSpcReduction="10000"/>
          </a:bodyPr>
          <a:lstStyle/>
          <a:p>
            <a:pPr algn="just">
              <a:lnSpc>
                <a:spcPct val="120000"/>
              </a:lnSpc>
            </a:pPr>
            <a:r>
              <a:rPr lang="ru-RU" sz="1400" b="1" dirty="0">
                <a:latin typeface="+mj-lt"/>
              </a:rPr>
              <a:t>Программа                          </a:t>
            </a:r>
            <a:r>
              <a:rPr lang="ru-RU" sz="1400" dirty="0">
                <a:latin typeface="+mj-lt"/>
              </a:rPr>
              <a:t>- удобный и надежный инструмент защиты от падения цены на товарных рынках для покупателей наших продуктов.</a:t>
            </a:r>
            <a:endParaRPr lang="en-US" sz="1400" dirty="0">
              <a:latin typeface="+mj-lt"/>
            </a:endParaRPr>
          </a:p>
        </p:txBody>
      </p:sp>
      <p:sp>
        <p:nvSpPr>
          <p:cNvPr id="20" name="Нижний колонтитул 2">
            <a:extLst>
              <a:ext uri="{FF2B5EF4-FFF2-40B4-BE49-F238E27FC236}">
                <a16:creationId xmlns:a16="http://schemas.microsoft.com/office/drawing/2014/main" id="{E7649100-C7BD-4B79-906D-F336AB71F566}"/>
              </a:ext>
            </a:extLst>
          </p:cNvPr>
          <p:cNvSpPr txBox="1">
            <a:spLocks/>
          </p:cNvSpPr>
          <p:nvPr/>
        </p:nvSpPr>
        <p:spPr>
          <a:xfrm>
            <a:off x="7206483" y="6489577"/>
            <a:ext cx="4218656" cy="33365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pl-PL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GB" dirty="0"/>
              <a:t>CLASSIFICATION: Public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B89014C-220F-55BD-3C32-26A1BF2D0C28}"/>
              </a:ext>
            </a:extLst>
          </p:cNvPr>
          <p:cNvSpPr txBox="1"/>
          <p:nvPr/>
        </p:nvSpPr>
        <p:spPr>
          <a:xfrm>
            <a:off x="2649531" y="1763161"/>
            <a:ext cx="7041520" cy="471414"/>
          </a:xfrm>
          <a:prstGeom prst="rect">
            <a:avLst/>
          </a:prstGeom>
          <a:noFill/>
        </p:spPr>
        <p:txBody>
          <a:bodyPr wrap="square" rtlCol="0" anchor="ctr">
            <a:normAutofit fontScale="92500"/>
          </a:bodyPr>
          <a:lstStyle/>
          <a:p>
            <a:pPr algn="just">
              <a:lnSpc>
                <a:spcPct val="120000"/>
              </a:lnSpc>
            </a:pPr>
            <a:r>
              <a:rPr lang="ru-RU" b="1" dirty="0">
                <a:latin typeface="+mj-lt"/>
              </a:rPr>
              <a:t>Принять участие в программе «ЗоРРО</a:t>
            </a:r>
            <a:r>
              <a:rPr lang="ru-RU" b="1" baseline="30000" dirty="0">
                <a:latin typeface="+mj-lt"/>
                <a:ea typeface="Calibri" panose="020F0502020204030204" pitchFamily="34" charset="0"/>
              </a:rPr>
              <a:t> ®</a:t>
            </a:r>
            <a:r>
              <a:rPr lang="ru-RU" b="1" dirty="0">
                <a:latin typeface="+mj-lt"/>
              </a:rPr>
              <a:t>» - просто, для этого: </a:t>
            </a:r>
            <a:endParaRPr lang="en-US" b="1" dirty="0">
              <a:solidFill>
                <a:srgbClr val="488021"/>
              </a:solidFill>
              <a:latin typeface="+mj-lt"/>
            </a:endParaRPr>
          </a:p>
        </p:txBody>
      </p:sp>
      <p:pic>
        <p:nvPicPr>
          <p:cNvPr id="22" name="Image 2">
            <a:extLst>
              <a:ext uri="{FF2B5EF4-FFF2-40B4-BE49-F238E27FC236}">
                <a16:creationId xmlns:a16="http://schemas.microsoft.com/office/drawing/2014/main" id="{0891E8A8-E160-19B6-001A-87B9FA218C0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23297" y="6095929"/>
            <a:ext cx="1125140" cy="291154"/>
          </a:xfrm>
          <a:prstGeom prst="rect">
            <a:avLst/>
          </a:prstGeom>
        </p:spPr>
      </p:pic>
      <p:pic>
        <p:nvPicPr>
          <p:cNvPr id="2" name="Picture 2" descr="A green and black logo&#10;&#10;Description automatically generated">
            <a:extLst>
              <a:ext uri="{FF2B5EF4-FFF2-40B4-BE49-F238E27FC236}">
                <a16:creationId xmlns:a16="http://schemas.microsoft.com/office/drawing/2014/main" id="{C60402C1-D7FD-448F-D41A-AC434AE2C0C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0957" y="0"/>
            <a:ext cx="1881043" cy="792796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B7C4F534-9507-EF4A-E1EE-7E2AB23FA1C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8989" y="2166151"/>
            <a:ext cx="11751376" cy="3854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386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8CF68CC2-BEE3-4452-99C6-F5F57DA7E6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8CF68CC2-BEE3-4452-99C6-F5F57DA7E6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98FEDB-51C4-491A-B248-445386F35B2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9C47F3-E74D-462A-9E9A-E7164C68AF73}" type="slidenum">
              <a:rPr lang="en-GB" smtClean="0"/>
              <a:pPr/>
              <a:t>3</a:t>
            </a:fld>
            <a:endParaRPr lang="en-GB"/>
          </a:p>
        </p:txBody>
      </p:sp>
      <p:sp>
        <p:nvSpPr>
          <p:cNvPr id="20" name="Нижний колонтитул 2">
            <a:extLst>
              <a:ext uri="{FF2B5EF4-FFF2-40B4-BE49-F238E27FC236}">
                <a16:creationId xmlns:a16="http://schemas.microsoft.com/office/drawing/2014/main" id="{E7649100-C7BD-4B79-906D-F336AB71F566}"/>
              </a:ext>
            </a:extLst>
          </p:cNvPr>
          <p:cNvSpPr txBox="1">
            <a:spLocks/>
          </p:cNvSpPr>
          <p:nvPr/>
        </p:nvSpPr>
        <p:spPr>
          <a:xfrm>
            <a:off x="7206483" y="6489577"/>
            <a:ext cx="4218656" cy="33365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pl-PL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GB" dirty="0"/>
              <a:t>CLASSIFICATION: Public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5EC1926-4FD0-D16E-994E-4626F1A3053D}"/>
              </a:ext>
            </a:extLst>
          </p:cNvPr>
          <p:cNvSpPr txBox="1"/>
          <p:nvPr/>
        </p:nvSpPr>
        <p:spPr>
          <a:xfrm>
            <a:off x="369690" y="563040"/>
            <a:ext cx="11547627" cy="36009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RU" sz="2000" b="1" dirty="0">
                <a:latin typeface="PT Sans" panose="020B0503020203020204" pitchFamily="34" charset="-52"/>
              </a:rPr>
              <a:t>Цель программы </a:t>
            </a:r>
            <a:r>
              <a:rPr lang="ru-RU" altLang="ru-RU" sz="2000" b="1" dirty="0">
                <a:latin typeface="PT Sans" panose="020B0503020203020204" pitchFamily="34" charset="-52"/>
              </a:rPr>
              <a:t>ЗоРРО® - снизить инвестиционные риски участника в продукты «Сингента».</a:t>
            </a:r>
          </a:p>
          <a:p>
            <a:pPr algn="just"/>
            <a:r>
              <a:rPr lang="ru-RU" altLang="ru-RU" sz="1600" dirty="0">
                <a:solidFill>
                  <a:srgbClr val="1C1C1C"/>
                </a:solidFill>
                <a:latin typeface="PT Sans" panose="020B0503020203020204" pitchFamily="34" charset="-52"/>
              </a:rPr>
              <a:t>Для этого, по запросу участника, «Сингента»</a:t>
            </a:r>
            <a:r>
              <a:rPr lang="ru-RU" sz="1600" dirty="0">
                <a:solidFill>
                  <a:srgbClr val="1C1C1C"/>
                </a:solidFill>
                <a:latin typeface="PT Sans" panose="020B0503020203020204" pitchFamily="34" charset="-52"/>
              </a:rPr>
              <a:t> фиксирует приемлемую цену сельскохозяйственной продукции на мировом рынке и в случае ее падения в конце сезона, компенсирует затраты на </a:t>
            </a:r>
            <a:r>
              <a:rPr lang="ru-RU" sz="1600">
                <a:solidFill>
                  <a:srgbClr val="1C1C1C"/>
                </a:solidFill>
                <a:latin typeface="PT Sans" panose="020B0503020203020204" pitchFamily="34" charset="-52"/>
              </a:rPr>
              <a:t>продукты «</a:t>
            </a:r>
            <a:r>
              <a:rPr lang="ru-RU" sz="1600" dirty="0">
                <a:solidFill>
                  <a:srgbClr val="1C1C1C"/>
                </a:solidFill>
                <a:latin typeface="PT Sans" panose="020B0503020203020204" pitchFamily="34" charset="-52"/>
              </a:rPr>
              <a:t>Сингента».  </a:t>
            </a:r>
            <a:endParaRPr lang="ru-RU" sz="1600" dirty="0">
              <a:latin typeface="PT Sans" panose="020B0503020203020204" pitchFamily="34" charset="-52"/>
            </a:endParaRPr>
          </a:p>
          <a:p>
            <a:pPr algn="just" fontAlgn="base"/>
            <a:r>
              <a:rPr lang="ru-RU" altLang="ru-RU" sz="1600" b="1" dirty="0">
                <a:solidFill>
                  <a:srgbClr val="1C1C1C"/>
                </a:solidFill>
                <a:latin typeface="PT Sans" panose="020B0503020203020204" pitchFamily="34" charset="-52"/>
              </a:rPr>
              <a:t>Основа программы ЗоРРО® </a:t>
            </a:r>
            <a:r>
              <a:rPr lang="en-US" altLang="ru-RU" sz="1600" b="1" dirty="0">
                <a:solidFill>
                  <a:srgbClr val="1C1C1C"/>
                </a:solidFill>
                <a:latin typeface="PT Sans" panose="020B0503020203020204" pitchFamily="34" charset="-52"/>
              </a:rPr>
              <a:t>–</a:t>
            </a:r>
            <a:r>
              <a:rPr lang="ru-RU" altLang="ru-RU" sz="1600" b="1" dirty="0">
                <a:solidFill>
                  <a:srgbClr val="1C1C1C"/>
                </a:solidFill>
                <a:latin typeface="PT Sans" panose="020B0503020203020204" pitchFamily="34" charset="-52"/>
              </a:rPr>
              <a:t> </a:t>
            </a:r>
            <a:r>
              <a:rPr lang="ru-RU" altLang="ru-RU" sz="1600" dirty="0">
                <a:latin typeface="PT Sans" panose="020B0503020203020204" pitchFamily="34" charset="-52"/>
              </a:rPr>
              <a:t>биржевой (рыночный) индекс в открытом доступе. </a:t>
            </a:r>
          </a:p>
          <a:p>
            <a:pPr algn="just" fontAlgn="base"/>
            <a:r>
              <a:rPr lang="ru-RU" sz="1600" b="1" i="0" dirty="0">
                <a:solidFill>
                  <a:srgbClr val="2C2C2C"/>
                </a:solidFill>
                <a:effectLst/>
                <a:latin typeface="PT Sans" panose="020B0503020203020204" pitchFamily="34" charset="-52"/>
              </a:rPr>
              <a:t>Биржевой индекс</a:t>
            </a:r>
            <a:r>
              <a:rPr lang="ru-RU" sz="1600" b="0" i="0" dirty="0">
                <a:solidFill>
                  <a:srgbClr val="2C2C2C"/>
                </a:solidFill>
                <a:effectLst/>
                <a:latin typeface="PT Sans" panose="020B0503020203020204" pitchFamily="34" charset="-52"/>
              </a:rPr>
              <a:t> – это индикатор состояния рынка, рассчитанный определенным образом на основе наиболее ликвидных обыкновенных товаров.</a:t>
            </a:r>
          </a:p>
          <a:p>
            <a:pPr algn="just" fontAlgn="base"/>
            <a:r>
              <a:rPr lang="ru-RU" sz="1600" b="1" dirty="0">
                <a:solidFill>
                  <a:srgbClr val="1C1C1C"/>
                </a:solidFill>
                <a:latin typeface="PT Sans" panose="020B0503020203020204" pitchFamily="34" charset="-52"/>
              </a:rPr>
              <a:t>Фьючерс </a:t>
            </a:r>
            <a:r>
              <a:rPr lang="ru-RU" sz="1600" dirty="0">
                <a:solidFill>
                  <a:srgbClr val="1C1C1C"/>
                </a:solidFill>
                <a:latin typeface="PT Sans" panose="020B0503020203020204" pitchFamily="34" charset="-52"/>
              </a:rPr>
              <a:t>– это договор на поставку какого-либо товара через определенное время в будущем, но по заранее оговоренной цене.</a:t>
            </a:r>
          </a:p>
          <a:p>
            <a:pPr algn="just" fontAlgn="base"/>
            <a:r>
              <a:rPr lang="ru-RU" sz="1600" b="1" dirty="0">
                <a:solidFill>
                  <a:srgbClr val="1C1C1C"/>
                </a:solidFill>
                <a:latin typeface="PT Sans" panose="020B0503020203020204" pitchFamily="34" charset="-52"/>
              </a:rPr>
              <a:t>Цель </a:t>
            </a:r>
            <a:r>
              <a:rPr lang="ru-RU" sz="1600" dirty="0">
                <a:solidFill>
                  <a:srgbClr val="1C1C1C"/>
                </a:solidFill>
                <a:latin typeface="PT Sans" panose="020B0503020203020204" pitchFamily="34" charset="-52"/>
              </a:rPr>
              <a:t>заключения </a:t>
            </a:r>
            <a:r>
              <a:rPr lang="ru-RU" sz="1600" b="1" dirty="0">
                <a:solidFill>
                  <a:srgbClr val="1C1C1C"/>
                </a:solidFill>
                <a:latin typeface="PT Sans" panose="020B0503020203020204" pitchFamily="34" charset="-52"/>
              </a:rPr>
              <a:t>Фьючерсного Контракта </a:t>
            </a:r>
            <a:r>
              <a:rPr lang="ru-RU" sz="1600" dirty="0">
                <a:solidFill>
                  <a:srgbClr val="1C1C1C"/>
                </a:solidFill>
                <a:latin typeface="PT Sans" panose="020B0503020203020204" pitchFamily="34" charset="-52"/>
              </a:rPr>
              <a:t>в том, чтобы зафиксировать приемлемую для обеих сторон цену и не зависеть от ее скачков и неопределенности на рынке. </a:t>
            </a:r>
            <a:endParaRPr lang="ru-RU" sz="1600" dirty="0">
              <a:latin typeface="PT Sans" panose="020B0503020203020204" pitchFamily="34" charset="-52"/>
            </a:endParaRPr>
          </a:p>
          <a:p>
            <a:pPr algn="just" fontAlgn="base"/>
            <a:r>
              <a:rPr lang="ru-RU" sz="1600" dirty="0">
                <a:latin typeface="PT Sans" panose="020B0503020203020204" pitchFamily="34" charset="-52"/>
              </a:rPr>
              <a:t>В качестве индексов программы мы используем фьючерсные контракты на пшеницу на бирже </a:t>
            </a:r>
            <a:r>
              <a:rPr lang="en-US" sz="1600" dirty="0">
                <a:latin typeface="PT Sans" panose="020B0503020203020204" pitchFamily="34" charset="-52"/>
              </a:rPr>
              <a:t>Euronext </a:t>
            </a:r>
            <a:r>
              <a:rPr lang="ru-RU" sz="1600" dirty="0">
                <a:solidFill>
                  <a:srgbClr val="0000FF"/>
                </a:solidFill>
                <a:latin typeface="PT Sans" panose="020B0503020203020204" pitchFamily="34" charset="-52"/>
                <a:cs typeface="Times New Roman" panose="02020603050405020304" pitchFamily="18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(https://live.euronext.com/en/product/commodities-futures/EBM-DPAR</a:t>
            </a:r>
            <a:r>
              <a:rPr lang="ru-RU" sz="1600" dirty="0">
                <a:solidFill>
                  <a:srgbClr val="0000FF"/>
                </a:solidFill>
                <a:latin typeface="PT Sans" panose="020B0503020203020204" pitchFamily="34" charset="-52"/>
                <a:cs typeface="Times New Roman" panose="02020603050405020304" pitchFamily="18" charset="0"/>
              </a:rPr>
              <a:t>), </a:t>
            </a:r>
            <a:r>
              <a:rPr lang="ru-RU" sz="1600" dirty="0">
                <a:latin typeface="PT Sans" panose="020B0503020203020204" pitchFamily="34" charset="-52"/>
              </a:rPr>
              <a:t>с расчетами в мае или декабре 2024 года и кукурузу на бирже СВОТ с расчетами в мае или декабре 2024 года </a:t>
            </a:r>
            <a:r>
              <a:rPr lang="ru-RU" sz="1600" dirty="0">
                <a:solidFill>
                  <a:srgbClr val="0000FF"/>
                </a:solidFill>
                <a:latin typeface="PT Sans" panose="020B0503020203020204" pitchFamily="34" charset="-52"/>
                <a:cs typeface="Times New Roman" panose="02020603050405020304" pitchFamily="18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(</a:t>
            </a:r>
            <a:r>
              <a:rPr lang="en-US" sz="1600" dirty="0">
                <a:solidFill>
                  <a:srgbClr val="0000FF"/>
                </a:solidFill>
                <a:latin typeface="PT Sans" panose="020B0503020203020204" pitchFamily="34" charset="-52"/>
                <a:cs typeface="Times New Roman" panose="02020603050405020304" pitchFamily="18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</a:t>
            </a:r>
            <a:r>
              <a:rPr lang="ru-RU" sz="1600" dirty="0">
                <a:solidFill>
                  <a:srgbClr val="0000FF"/>
                </a:solidFill>
                <a:latin typeface="PT Sans" panose="020B0503020203020204" pitchFamily="34" charset="-52"/>
                <a:cs typeface="Times New Roman" panose="02020603050405020304" pitchFamily="18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://</a:t>
            </a:r>
            <a:r>
              <a:rPr lang="en-US" sz="1600" dirty="0">
                <a:solidFill>
                  <a:srgbClr val="0000FF"/>
                </a:solidFill>
                <a:latin typeface="PT Sans" panose="020B0503020203020204" pitchFamily="34" charset="-52"/>
                <a:cs typeface="Times New Roman" panose="02020603050405020304" pitchFamily="18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</a:t>
            </a:r>
            <a:r>
              <a:rPr lang="ru-RU" sz="1600" dirty="0">
                <a:solidFill>
                  <a:srgbClr val="0000FF"/>
                </a:solidFill>
                <a:latin typeface="PT Sans" panose="020B0503020203020204" pitchFamily="34" charset="-52"/>
                <a:cs typeface="Times New Roman" panose="02020603050405020304" pitchFamily="18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.</a:t>
            </a:r>
            <a:r>
              <a:rPr lang="en-US" sz="1600" dirty="0" err="1">
                <a:solidFill>
                  <a:srgbClr val="0000FF"/>
                </a:solidFill>
                <a:latin typeface="PT Sans" panose="020B0503020203020204" pitchFamily="34" charset="-52"/>
                <a:cs typeface="Times New Roman" panose="02020603050405020304" pitchFamily="18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megroup</a:t>
            </a:r>
            <a:r>
              <a:rPr lang="ru-RU" sz="1600" dirty="0">
                <a:solidFill>
                  <a:srgbClr val="0000FF"/>
                </a:solidFill>
                <a:latin typeface="PT Sans" panose="020B0503020203020204" pitchFamily="34" charset="-52"/>
                <a:cs typeface="Times New Roman" panose="02020603050405020304" pitchFamily="18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.</a:t>
            </a:r>
            <a:r>
              <a:rPr lang="en-US" sz="1600" dirty="0">
                <a:solidFill>
                  <a:srgbClr val="0000FF"/>
                </a:solidFill>
                <a:latin typeface="PT Sans" panose="020B0503020203020204" pitchFamily="34" charset="-52"/>
                <a:cs typeface="Times New Roman" panose="02020603050405020304" pitchFamily="18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m</a:t>
            </a:r>
            <a:r>
              <a:rPr lang="ru-RU" sz="1600" dirty="0">
                <a:solidFill>
                  <a:srgbClr val="0000FF"/>
                </a:solidFill>
                <a:latin typeface="PT Sans" panose="020B0503020203020204" pitchFamily="34" charset="-52"/>
                <a:cs typeface="Times New Roman" panose="02020603050405020304" pitchFamily="18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</a:t>
            </a:r>
            <a:r>
              <a:rPr lang="en-US" sz="1600" dirty="0">
                <a:solidFill>
                  <a:srgbClr val="0000FF"/>
                </a:solidFill>
                <a:latin typeface="PT Sans" panose="020B0503020203020204" pitchFamily="34" charset="-52"/>
                <a:cs typeface="Times New Roman" panose="02020603050405020304" pitchFamily="18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rkets</a:t>
            </a:r>
            <a:r>
              <a:rPr lang="ru-RU" sz="1600" dirty="0">
                <a:solidFill>
                  <a:srgbClr val="0000FF"/>
                </a:solidFill>
                <a:latin typeface="PT Sans" panose="020B0503020203020204" pitchFamily="34" charset="-52"/>
                <a:cs typeface="Times New Roman" panose="02020603050405020304" pitchFamily="18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</a:t>
            </a:r>
            <a:r>
              <a:rPr lang="en-US" sz="1600" dirty="0">
                <a:solidFill>
                  <a:srgbClr val="0000FF"/>
                </a:solidFill>
                <a:latin typeface="PT Sans" panose="020B0503020203020204" pitchFamily="34" charset="-52"/>
                <a:cs typeface="Times New Roman" panose="02020603050405020304" pitchFamily="18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griculture</a:t>
            </a:r>
            <a:r>
              <a:rPr lang="ru-RU" sz="1600" dirty="0">
                <a:solidFill>
                  <a:srgbClr val="0000FF"/>
                </a:solidFill>
                <a:latin typeface="PT Sans" panose="020B0503020203020204" pitchFamily="34" charset="-52"/>
                <a:cs typeface="Times New Roman" panose="02020603050405020304" pitchFamily="18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</a:t>
            </a:r>
            <a:r>
              <a:rPr lang="en-US" sz="1600" dirty="0">
                <a:solidFill>
                  <a:srgbClr val="0000FF"/>
                </a:solidFill>
                <a:latin typeface="PT Sans" panose="020B0503020203020204" pitchFamily="34" charset="-52"/>
                <a:cs typeface="Times New Roman" panose="02020603050405020304" pitchFamily="18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rains</a:t>
            </a:r>
            <a:r>
              <a:rPr lang="ru-RU" sz="1600" dirty="0">
                <a:solidFill>
                  <a:srgbClr val="0000FF"/>
                </a:solidFill>
                <a:latin typeface="PT Sans" panose="020B0503020203020204" pitchFamily="34" charset="-52"/>
                <a:cs typeface="Times New Roman" panose="02020603050405020304" pitchFamily="18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</a:t>
            </a:r>
            <a:r>
              <a:rPr lang="en-US" sz="1600" dirty="0">
                <a:solidFill>
                  <a:srgbClr val="0000FF"/>
                </a:solidFill>
                <a:latin typeface="PT Sans" panose="020B0503020203020204" pitchFamily="34" charset="-52"/>
                <a:cs typeface="Times New Roman" panose="02020603050405020304" pitchFamily="18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rn</a:t>
            </a:r>
            <a:r>
              <a:rPr lang="ru-RU" sz="1600" dirty="0">
                <a:solidFill>
                  <a:srgbClr val="0000FF"/>
                </a:solidFill>
                <a:latin typeface="PT Sans" panose="020B0503020203020204" pitchFamily="34" charset="-52"/>
                <a:cs typeface="Times New Roman" panose="02020603050405020304" pitchFamily="18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.</a:t>
            </a:r>
            <a:r>
              <a:rPr lang="en-US" sz="1600" dirty="0">
                <a:solidFill>
                  <a:srgbClr val="0000FF"/>
                </a:solidFill>
                <a:latin typeface="PT Sans" panose="020B0503020203020204" pitchFamily="34" charset="-52"/>
                <a:cs typeface="Times New Roman" panose="02020603050405020304" pitchFamily="18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quotes</a:t>
            </a:r>
            <a:r>
              <a:rPr lang="ru-RU" sz="1600" dirty="0">
                <a:solidFill>
                  <a:srgbClr val="0000FF"/>
                </a:solidFill>
                <a:latin typeface="PT Sans" panose="020B0503020203020204" pitchFamily="34" charset="-52"/>
                <a:cs typeface="Times New Roman" panose="02020603050405020304" pitchFamily="18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.</a:t>
            </a:r>
            <a:r>
              <a:rPr lang="en-US" sz="1600" dirty="0">
                <a:solidFill>
                  <a:srgbClr val="0000FF"/>
                </a:solidFill>
                <a:latin typeface="PT Sans" panose="020B0503020203020204" pitchFamily="34" charset="-52"/>
                <a:cs typeface="Times New Roman" panose="02020603050405020304" pitchFamily="18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ml</a:t>
            </a:r>
            <a:r>
              <a:rPr lang="ru-RU" sz="1600" dirty="0">
                <a:solidFill>
                  <a:srgbClr val="0000FF"/>
                </a:solidFill>
                <a:latin typeface="PT Sans" panose="020B0503020203020204" pitchFamily="34" charset="-52"/>
                <a:cs typeface="Times New Roman" panose="02020603050405020304" pitchFamily="18" charset="0"/>
              </a:rPr>
              <a:t>).</a:t>
            </a:r>
          </a:p>
          <a:p>
            <a:pPr algn="just" fontAlgn="base"/>
            <a:endParaRPr lang="ru-RU" sz="1600" dirty="0"/>
          </a:p>
        </p:txBody>
      </p:sp>
      <p:pic>
        <p:nvPicPr>
          <p:cNvPr id="5" name="Picture 2" descr="A green and black logo&#10;&#10;Description automatically generated">
            <a:extLst>
              <a:ext uri="{FF2B5EF4-FFF2-40B4-BE49-F238E27FC236}">
                <a16:creationId xmlns:a16="http://schemas.microsoft.com/office/drawing/2014/main" id="{F2A4B690-C8C1-3F9C-E5C8-81FA2CA9036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0957" y="0"/>
            <a:ext cx="1881043" cy="701336"/>
          </a:xfrm>
          <a:prstGeom prst="rect">
            <a:avLst/>
          </a:prstGeom>
        </p:spPr>
      </p:pic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3C9000D3-4583-936B-A2D0-FBDA7AA33F75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118"/>
          <a:stretch/>
        </p:blipFill>
        <p:spPr>
          <a:xfrm>
            <a:off x="4283263" y="4039341"/>
            <a:ext cx="3720480" cy="2255619"/>
          </a:xfrm>
          <a:prstGeom prst="rect">
            <a:avLst/>
          </a:prstGeom>
        </p:spPr>
      </p:pic>
      <p:pic>
        <p:nvPicPr>
          <p:cNvPr id="9" name="Picture 2" descr="Download CME Group Logo in SVG Vector or PNG File Format - Logo.wine">
            <a:extLst>
              <a:ext uri="{FF2B5EF4-FFF2-40B4-BE49-F238E27FC236}">
                <a16:creationId xmlns:a16="http://schemas.microsoft.com/office/drawing/2014/main" id="{4E9FBB73-8E2E-FEC3-3F2D-009E99C1308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422" t="38335" r="48979" b="40376"/>
          <a:stretch/>
        </p:blipFill>
        <p:spPr bwMode="auto">
          <a:xfrm>
            <a:off x="8587061" y="4675890"/>
            <a:ext cx="2886130" cy="1598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>
            <a:extLst>
              <a:ext uri="{FF2B5EF4-FFF2-40B4-BE49-F238E27FC236}">
                <a16:creationId xmlns:a16="http://schemas.microsoft.com/office/drawing/2014/main" id="{0A754D60-D257-CA45-A07A-D7CB12AF30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9690" y="4094264"/>
            <a:ext cx="3330255" cy="18971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526724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CB04114-61FC-9CBC-C60D-8A1A76163A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329063"/>
            <a:ext cx="8750425" cy="649792"/>
          </a:xfrm>
        </p:spPr>
        <p:txBody>
          <a:bodyPr/>
          <a:lstStyle/>
          <a:p>
            <a:r>
              <a:rPr lang="ru-RU" sz="1800" dirty="0"/>
              <a:t>Реальный пример работы программы в 2023 году</a:t>
            </a:r>
            <a:br>
              <a:rPr lang="ru-RU" sz="1800" dirty="0"/>
            </a:br>
            <a:r>
              <a:rPr lang="ru-RU" sz="1800" dirty="0"/>
              <a:t>Индекс кукуруза, выплата – </a:t>
            </a:r>
            <a:r>
              <a:rPr lang="en-US" sz="1800" dirty="0"/>
              <a:t>21</a:t>
            </a:r>
            <a:r>
              <a:rPr lang="ru-RU" sz="1800" dirty="0"/>
              <a:t> </a:t>
            </a:r>
            <a:r>
              <a:rPr lang="en-US" sz="1800" dirty="0"/>
              <a:t>805 560</a:t>
            </a:r>
            <a:r>
              <a:rPr lang="ru-RU" sz="1800" dirty="0"/>
              <a:t>,</a:t>
            </a:r>
            <a:r>
              <a:rPr lang="en-US" sz="1800" dirty="0"/>
              <a:t>46 </a:t>
            </a:r>
            <a:r>
              <a:rPr lang="ru-RU" sz="1800" dirty="0"/>
              <a:t>рублей!</a:t>
            </a: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F0B22062-3D45-3AF0-19AD-1F656449B2A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GB" dirty="0"/>
              <a:t>CLASSIFICATION: </a:t>
            </a:r>
            <a:r>
              <a:rPr lang="en-US" dirty="0"/>
              <a:t>Public</a:t>
            </a:r>
            <a:endParaRPr lang="en-GB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C6891FF4-CED8-6B62-3B95-49BC357A2E7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9C47F3-E74D-462A-9E9A-E7164C68AF73}" type="slidenum">
              <a:rPr lang="en-GB" smtClean="0"/>
              <a:pPr/>
              <a:t>4</a:t>
            </a:fld>
            <a:endParaRPr lang="en-GB"/>
          </a:p>
        </p:txBody>
      </p:sp>
      <p:grpSp>
        <p:nvGrpSpPr>
          <p:cNvPr id="12" name="Group 9245">
            <a:extLst>
              <a:ext uri="{FF2B5EF4-FFF2-40B4-BE49-F238E27FC236}">
                <a16:creationId xmlns:a16="http://schemas.microsoft.com/office/drawing/2014/main" id="{815C23A1-42B0-E021-EB3A-B30C3E4C368A}"/>
              </a:ext>
            </a:extLst>
          </p:cNvPr>
          <p:cNvGrpSpPr/>
          <p:nvPr/>
        </p:nvGrpSpPr>
        <p:grpSpPr>
          <a:xfrm>
            <a:off x="1750058" y="1279415"/>
            <a:ext cx="291093" cy="296436"/>
            <a:chOff x="2333149" y="1105621"/>
            <a:chExt cx="291093" cy="296436"/>
          </a:xfrm>
        </p:grpSpPr>
        <p:sp>
          <p:nvSpPr>
            <p:cNvPr id="13" name="Oval 9242">
              <a:extLst>
                <a:ext uri="{FF2B5EF4-FFF2-40B4-BE49-F238E27FC236}">
                  <a16:creationId xmlns:a16="http://schemas.microsoft.com/office/drawing/2014/main" id="{7B9AEAB1-43D0-06AD-6D94-226ECDD4F30C}"/>
                </a:ext>
              </a:extLst>
            </p:cNvPr>
            <p:cNvSpPr/>
            <p:nvPr/>
          </p:nvSpPr>
          <p:spPr>
            <a:xfrm>
              <a:off x="2333149" y="1105621"/>
              <a:ext cx="291093" cy="296436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4" name="Graphic 9244">
              <a:extLst>
                <a:ext uri="{FF2B5EF4-FFF2-40B4-BE49-F238E27FC236}">
                  <a16:creationId xmlns:a16="http://schemas.microsoft.com/office/drawing/2014/main" id="{D93BD9DA-ECCA-A2ED-DB8A-98735C45423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389876" y="1157583"/>
              <a:ext cx="177637" cy="177637"/>
            </a:xfrm>
            <a:prstGeom prst="rect">
              <a:avLst/>
            </a:prstGeom>
          </p:spPr>
        </p:pic>
      </p:grp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1817D3F1-777B-4EF5-26A1-D3445E2CC05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045692"/>
            <a:ext cx="12192000" cy="5119930"/>
          </a:xfrm>
          <a:prstGeom prst="rect">
            <a:avLst/>
          </a:prstGeom>
        </p:spPr>
      </p:pic>
      <p:pic>
        <p:nvPicPr>
          <p:cNvPr id="17" name="Picture 2" descr="A green and black logo&#10;&#10;Description automatically generated">
            <a:extLst>
              <a:ext uri="{FF2B5EF4-FFF2-40B4-BE49-F238E27FC236}">
                <a16:creationId xmlns:a16="http://schemas.microsoft.com/office/drawing/2014/main" id="{154FB624-8989-56B1-EE89-0EDD40C44CE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0957" y="0"/>
            <a:ext cx="1881043" cy="792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01562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CB04114-61FC-9CBC-C60D-8A1A76163A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329063"/>
            <a:ext cx="8750425" cy="649792"/>
          </a:xfrm>
        </p:spPr>
        <p:txBody>
          <a:bodyPr/>
          <a:lstStyle/>
          <a:p>
            <a:r>
              <a:rPr lang="ru-RU" sz="1800" dirty="0"/>
              <a:t>Реальный пример работы программы в 2023 году, </a:t>
            </a:r>
            <a:br>
              <a:rPr lang="ru-RU" sz="1800" dirty="0"/>
            </a:br>
            <a:r>
              <a:rPr lang="ru-RU" sz="1800" dirty="0"/>
              <a:t>Индекс пшеница, выплата – </a:t>
            </a:r>
            <a:r>
              <a:rPr lang="en-US" sz="1800" dirty="0"/>
              <a:t>1</a:t>
            </a:r>
            <a:r>
              <a:rPr lang="ru-RU" sz="1800" dirty="0"/>
              <a:t>0 714</a:t>
            </a:r>
            <a:r>
              <a:rPr lang="en-US" sz="1800" dirty="0"/>
              <a:t> </a:t>
            </a:r>
            <a:r>
              <a:rPr lang="ru-RU" sz="1800" dirty="0"/>
              <a:t>305,53</a:t>
            </a:r>
            <a:r>
              <a:rPr lang="en-US" sz="1800" dirty="0"/>
              <a:t> </a:t>
            </a:r>
            <a:r>
              <a:rPr lang="ru-RU" sz="1800" dirty="0"/>
              <a:t>рублей!</a:t>
            </a: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F0B22062-3D45-3AF0-19AD-1F656449B2A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GB" dirty="0"/>
              <a:t>CLASSIFICATION: </a:t>
            </a:r>
            <a:r>
              <a:rPr lang="en-US" dirty="0"/>
              <a:t>Public</a:t>
            </a:r>
            <a:endParaRPr lang="en-GB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C6891FF4-CED8-6B62-3B95-49BC357A2E7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9C47F3-E74D-462A-9E9A-E7164C68AF73}" type="slidenum">
              <a:rPr lang="en-GB" smtClean="0"/>
              <a:pPr/>
              <a:t>5</a:t>
            </a:fld>
            <a:endParaRPr lang="en-GB"/>
          </a:p>
        </p:txBody>
      </p:sp>
      <p:pic>
        <p:nvPicPr>
          <p:cNvPr id="17" name="Picture 2" descr="A green and black logo&#10;&#10;Description automatically generated">
            <a:extLst>
              <a:ext uri="{FF2B5EF4-FFF2-40B4-BE49-F238E27FC236}">
                <a16:creationId xmlns:a16="http://schemas.microsoft.com/office/drawing/2014/main" id="{154FB624-8989-56B1-EE89-0EDD40C44C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0957" y="0"/>
            <a:ext cx="1881043" cy="792796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C02378D7-05C8-34D7-7558-BDDD2CC661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69383"/>
            <a:ext cx="12192000" cy="5068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3729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CF7DA48C-E17C-455D-B43B-5C9DF10B5D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CF7DA48C-E17C-455D-B43B-5C9DF10B5D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90A7F44A-868E-4D8F-BAB5-FFBF895C1683}"/>
              </a:ext>
            </a:extLst>
          </p:cNvPr>
          <p:cNvSpPr/>
          <p:nvPr/>
        </p:nvSpPr>
        <p:spPr>
          <a:xfrm>
            <a:off x="6110059" y="840184"/>
            <a:ext cx="5394960" cy="649792"/>
          </a:xfrm>
          <a:prstGeom prst="roundRect">
            <a:avLst/>
          </a:prstGeom>
          <a:solidFill>
            <a:srgbClr val="00B050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Пшеница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0A34E0FC-F97A-49E5-A960-F33A1D339AA8}"/>
              </a:ext>
            </a:extLst>
          </p:cNvPr>
          <p:cNvSpPr/>
          <p:nvPr/>
        </p:nvSpPr>
        <p:spPr>
          <a:xfrm>
            <a:off x="618158" y="852254"/>
            <a:ext cx="5394960" cy="649792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Кукуруза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C63E2F55-716F-4E94-B0D7-E52F83AD17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040" y="304801"/>
            <a:ext cx="9982809" cy="451615"/>
          </a:xfrm>
        </p:spPr>
        <p:txBody>
          <a:bodyPr vert="horz"/>
          <a:lstStyle/>
          <a:p>
            <a:r>
              <a:rPr lang="ru-RU" sz="2000" dirty="0"/>
              <a:t>Условия </a:t>
            </a:r>
            <a:r>
              <a:rPr lang="ru-RU" dirty="0"/>
              <a:t>программы в 2024 году</a:t>
            </a:r>
            <a:r>
              <a:rPr lang="en-US" dirty="0"/>
              <a:t> </a:t>
            </a:r>
            <a:r>
              <a:rPr lang="ru-RU" dirty="0"/>
              <a:t> </a:t>
            </a:r>
            <a:endParaRPr lang="en-US" b="0" i="1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BA89F4A0-15FC-4FCB-B9EE-30F6C4D7E04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4128" y="923248"/>
            <a:ext cx="552450" cy="552450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3A66F119-34C6-46AE-B670-A3E250FAA16C}"/>
              </a:ext>
            </a:extLst>
          </p:cNvPr>
          <p:cNvSpPr txBox="1"/>
          <p:nvPr/>
        </p:nvSpPr>
        <p:spPr>
          <a:xfrm>
            <a:off x="628041" y="5564674"/>
            <a:ext cx="10680666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endParaRPr lang="en-US" sz="1600" dirty="0">
              <a:solidFill>
                <a:prstClr val="black">
                  <a:lumMod val="50000"/>
                  <a:lumOff val="50000"/>
                </a:prstClr>
              </a:solidFill>
              <a:latin typeface="Arial" panose="020B0604020202020204" pitchFamily="34" charset="0"/>
            </a:endParaRPr>
          </a:p>
          <a:p>
            <a:endParaRPr lang="en-US" sz="1600" b="1" dirty="0">
              <a:solidFill>
                <a:schemeClr val="accent2"/>
              </a:solidFill>
            </a:endParaRPr>
          </a:p>
        </p:txBody>
      </p:sp>
      <p:pic>
        <p:nvPicPr>
          <p:cNvPr id="94" name="Graphic 93">
            <a:extLst>
              <a:ext uri="{FF2B5EF4-FFF2-40B4-BE49-F238E27FC236}">
                <a16:creationId xmlns:a16="http://schemas.microsoft.com/office/drawing/2014/main" id="{11CEBECE-698C-4FAF-8488-3C82ADA5B23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374182" y="864834"/>
            <a:ext cx="604252" cy="604252"/>
          </a:xfrm>
          <a:prstGeom prst="rect">
            <a:avLst/>
          </a:prstGeom>
        </p:spPr>
      </p:pic>
      <p:sp>
        <p:nvSpPr>
          <p:cNvPr id="98" name="Rectangle: Rounded Corners 97">
            <a:extLst>
              <a:ext uri="{FF2B5EF4-FFF2-40B4-BE49-F238E27FC236}">
                <a16:creationId xmlns:a16="http://schemas.microsoft.com/office/drawing/2014/main" id="{564E57EC-D919-49F1-9580-94B7C9761BD7}"/>
              </a:ext>
            </a:extLst>
          </p:cNvPr>
          <p:cNvSpPr/>
          <p:nvPr/>
        </p:nvSpPr>
        <p:spPr>
          <a:xfrm>
            <a:off x="604033" y="1559117"/>
            <a:ext cx="5394960" cy="750118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9" name="Rectangle: Rounded Corners 98">
            <a:extLst>
              <a:ext uri="{FF2B5EF4-FFF2-40B4-BE49-F238E27FC236}">
                <a16:creationId xmlns:a16="http://schemas.microsoft.com/office/drawing/2014/main" id="{E48656AC-5BB6-4831-8C92-C57557F8C511}"/>
              </a:ext>
            </a:extLst>
          </p:cNvPr>
          <p:cNvSpPr/>
          <p:nvPr/>
        </p:nvSpPr>
        <p:spPr>
          <a:xfrm>
            <a:off x="6110059" y="1518641"/>
            <a:ext cx="5394960" cy="811009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03407687-9C62-4C60-8245-5D04E1C9F278}"/>
              </a:ext>
            </a:extLst>
          </p:cNvPr>
          <p:cNvSpPr txBox="1"/>
          <p:nvPr/>
        </p:nvSpPr>
        <p:spPr>
          <a:xfrm>
            <a:off x="1418268" y="1543609"/>
            <a:ext cx="4335232" cy="98488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ru-RU" sz="1600" dirty="0">
                <a:latin typeface="Arial" panose="020B0604020202020204" pitchFamily="34" charset="0"/>
              </a:rPr>
              <a:t>В качестве базовых индексов мировых цен используются майские и декабрьские фьючерсы на кукурузу биржи (СВОТ</a:t>
            </a:r>
            <a:r>
              <a:rPr lang="en-US" sz="1600" dirty="0">
                <a:latin typeface="Arial" panose="020B0604020202020204" pitchFamily="34" charset="0"/>
              </a:rPr>
              <a:t>)</a:t>
            </a:r>
          </a:p>
          <a:p>
            <a:endParaRPr lang="en-US" sz="1600" dirty="0">
              <a:latin typeface="Arial" panose="020B0604020202020204" pitchFamily="34" charset="0"/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749CAA14-37F1-4C20-B9DC-F4AA9D716083}"/>
              </a:ext>
            </a:extLst>
          </p:cNvPr>
          <p:cNvSpPr txBox="1"/>
          <p:nvPr/>
        </p:nvSpPr>
        <p:spPr>
          <a:xfrm>
            <a:off x="6676308" y="1531748"/>
            <a:ext cx="4594136" cy="73866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ru-RU" sz="1600" dirty="0">
                <a:latin typeface="Arial" panose="020B0604020202020204" pitchFamily="34" charset="0"/>
              </a:rPr>
              <a:t>В качестве базовых индексов мировых цен используются майские и декабрьские фьючерсы на пшеницу биржи (</a:t>
            </a:r>
            <a:r>
              <a:rPr lang="en-US" sz="1600" dirty="0">
                <a:latin typeface="Arial" panose="020B0604020202020204" pitchFamily="34" charset="0"/>
              </a:rPr>
              <a:t>Euronext)</a:t>
            </a:r>
            <a:r>
              <a:rPr lang="ru-RU" sz="1600" dirty="0">
                <a:latin typeface="Arial" panose="020B0604020202020204" pitchFamily="34" charset="0"/>
              </a:rPr>
              <a:t> </a:t>
            </a:r>
            <a:endParaRPr lang="en-US" sz="1600" dirty="0">
              <a:latin typeface="Arial" panose="020B0604020202020204" pitchFamily="34" charset="0"/>
            </a:endParaRPr>
          </a:p>
        </p:txBody>
      </p:sp>
      <p:pic>
        <p:nvPicPr>
          <p:cNvPr id="102" name="Picture 2" descr="Download CME Group Logo in SVG Vector or PNG File Format - Logo.wine">
            <a:extLst>
              <a:ext uri="{FF2B5EF4-FFF2-40B4-BE49-F238E27FC236}">
                <a16:creationId xmlns:a16="http://schemas.microsoft.com/office/drawing/2014/main" id="{6DF326DC-D5DA-4954-9DBF-0B5171754DC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422" t="38335" r="48979" b="40376"/>
          <a:stretch/>
        </p:blipFill>
        <p:spPr bwMode="auto">
          <a:xfrm>
            <a:off x="709165" y="1822113"/>
            <a:ext cx="709103" cy="247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0" name="Picture 4">
            <a:extLst>
              <a:ext uri="{FF2B5EF4-FFF2-40B4-BE49-F238E27FC236}">
                <a16:creationId xmlns:a16="http://schemas.microsoft.com/office/drawing/2014/main" id="{AFD8F0FB-D7EB-48D1-8BB8-F763F62EB3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0327" y="1686240"/>
            <a:ext cx="602901" cy="406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Rectangle: Rounded Corners 86">
            <a:extLst>
              <a:ext uri="{FF2B5EF4-FFF2-40B4-BE49-F238E27FC236}">
                <a16:creationId xmlns:a16="http://schemas.microsoft.com/office/drawing/2014/main" id="{999CC09C-26C5-46CA-A3BF-3B2333C161F4}"/>
              </a:ext>
            </a:extLst>
          </p:cNvPr>
          <p:cNvSpPr/>
          <p:nvPr/>
        </p:nvSpPr>
        <p:spPr>
          <a:xfrm>
            <a:off x="604033" y="2337339"/>
            <a:ext cx="10914865" cy="596703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defTabSz="914400" rtl="0" eaLnBrk="1" latinLnBrk="0" hangingPunct="1">
              <a:buFont typeface="Arial" panose="020B0604020202020204" pitchFamily="34" charset="0"/>
              <a:buNone/>
            </a:pPr>
            <a:r>
              <a:rPr lang="ru-RU" sz="1600" b="0" i="0" kern="1200" dirty="0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  <a:t>Наличие в структуре севооборота не менее 15% от общего объема площади пшеницы или кукурузы</a:t>
            </a:r>
          </a:p>
          <a:p>
            <a:pPr marL="0" indent="0" algn="ctr" defTabSz="914400" rtl="0" eaLnBrk="1" latinLnBrk="0" hangingPunct="1">
              <a:buFont typeface="Arial" panose="020B0604020202020204" pitchFamily="34" charset="0"/>
              <a:buNone/>
            </a:pPr>
            <a:r>
              <a:rPr lang="ru-RU" sz="1600" b="0" i="0" kern="1200" dirty="0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  <a:t>(в зависимости от выбранного индекса – пшеница или кукуруза)</a:t>
            </a:r>
            <a:endParaRPr lang="en-US" sz="1600" b="0" i="0" kern="1200" dirty="0">
              <a:solidFill>
                <a:schemeClr val="dk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37" name="Rectangle: Rounded Corners 86">
            <a:extLst>
              <a:ext uri="{FF2B5EF4-FFF2-40B4-BE49-F238E27FC236}">
                <a16:creationId xmlns:a16="http://schemas.microsoft.com/office/drawing/2014/main" id="{E5598E57-89D6-40F7-8F76-EF6100084A9B}"/>
              </a:ext>
            </a:extLst>
          </p:cNvPr>
          <p:cNvSpPr/>
          <p:nvPr/>
        </p:nvSpPr>
        <p:spPr>
          <a:xfrm>
            <a:off x="580025" y="3012196"/>
            <a:ext cx="10938873" cy="1607199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dk1"/>
              </a:solidFill>
            </a:endParaRPr>
          </a:p>
        </p:txBody>
      </p:sp>
      <p:sp>
        <p:nvSpPr>
          <p:cNvPr id="33" name="Нижний колонтитул 2">
            <a:extLst>
              <a:ext uri="{FF2B5EF4-FFF2-40B4-BE49-F238E27FC236}">
                <a16:creationId xmlns:a16="http://schemas.microsoft.com/office/drawing/2014/main" id="{7A81D5C1-C75B-4495-A1B1-F9BC11A63B8F}"/>
              </a:ext>
            </a:extLst>
          </p:cNvPr>
          <p:cNvSpPr txBox="1">
            <a:spLocks/>
          </p:cNvSpPr>
          <p:nvPr/>
        </p:nvSpPr>
        <p:spPr>
          <a:xfrm>
            <a:off x="7206483" y="6489577"/>
            <a:ext cx="4218656" cy="33365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pl-PL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GB" dirty="0"/>
              <a:t>CLASSIFICATION: Public</a:t>
            </a:r>
          </a:p>
        </p:txBody>
      </p:sp>
      <p:sp>
        <p:nvSpPr>
          <p:cNvPr id="8" name="Rectangle: Rounded Corners 96">
            <a:extLst>
              <a:ext uri="{FF2B5EF4-FFF2-40B4-BE49-F238E27FC236}">
                <a16:creationId xmlns:a16="http://schemas.microsoft.com/office/drawing/2014/main" id="{1BBE7B75-8B28-0C87-32D5-ED14D317CF45}"/>
              </a:ext>
            </a:extLst>
          </p:cNvPr>
          <p:cNvSpPr/>
          <p:nvPr/>
        </p:nvSpPr>
        <p:spPr>
          <a:xfrm>
            <a:off x="723570" y="3020262"/>
            <a:ext cx="2339225" cy="467303"/>
          </a:xfrm>
          <a:prstGeom prst="round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err="1">
                <a:solidFill>
                  <a:schemeClr val="tx1"/>
                </a:solidFill>
              </a:rPr>
              <a:t>ЗоРРО</a:t>
            </a:r>
            <a:r>
              <a:rPr lang="ru-RU" sz="1400" b="1" dirty="0">
                <a:solidFill>
                  <a:schemeClr val="tx1"/>
                </a:solidFill>
              </a:rPr>
              <a:t> «Весна»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9" name="Rectangle: Rounded Corners 96">
            <a:extLst>
              <a:ext uri="{FF2B5EF4-FFF2-40B4-BE49-F238E27FC236}">
                <a16:creationId xmlns:a16="http://schemas.microsoft.com/office/drawing/2014/main" id="{00C32D0E-1991-C5F9-1C0B-18DA663D1C49}"/>
              </a:ext>
            </a:extLst>
          </p:cNvPr>
          <p:cNvSpPr/>
          <p:nvPr/>
        </p:nvSpPr>
        <p:spPr>
          <a:xfrm>
            <a:off x="709164" y="3527306"/>
            <a:ext cx="2353631" cy="467303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err="1">
                <a:solidFill>
                  <a:schemeClr val="tx1"/>
                </a:solidFill>
              </a:rPr>
              <a:t>ЗоРРО</a:t>
            </a:r>
            <a:r>
              <a:rPr lang="ru-RU" sz="1400" b="1" dirty="0">
                <a:solidFill>
                  <a:schemeClr val="tx1"/>
                </a:solidFill>
              </a:rPr>
              <a:t> «Осень»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0" name="Rectangle: Rounded Corners 96">
            <a:extLst>
              <a:ext uri="{FF2B5EF4-FFF2-40B4-BE49-F238E27FC236}">
                <a16:creationId xmlns:a16="http://schemas.microsoft.com/office/drawing/2014/main" id="{58C1B5CF-E444-BB99-8F4A-D01A1C7890C2}"/>
              </a:ext>
            </a:extLst>
          </p:cNvPr>
          <p:cNvSpPr/>
          <p:nvPr/>
        </p:nvSpPr>
        <p:spPr>
          <a:xfrm>
            <a:off x="723570" y="4046584"/>
            <a:ext cx="2353632" cy="467303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err="1">
                <a:solidFill>
                  <a:schemeClr val="tx1"/>
                </a:solidFill>
              </a:rPr>
              <a:t>ЗоРРО</a:t>
            </a:r>
            <a:r>
              <a:rPr lang="ru-RU" sz="1400" b="1" dirty="0">
                <a:solidFill>
                  <a:schemeClr val="tx1"/>
                </a:solidFill>
              </a:rPr>
              <a:t> «Классический»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1" name="Rectangle: Rounded Corners 96">
            <a:extLst>
              <a:ext uri="{FF2B5EF4-FFF2-40B4-BE49-F238E27FC236}">
                <a16:creationId xmlns:a16="http://schemas.microsoft.com/office/drawing/2014/main" id="{4AA85F53-BD0D-978B-C7D3-8E19CBCA5822}"/>
              </a:ext>
            </a:extLst>
          </p:cNvPr>
          <p:cNvSpPr/>
          <p:nvPr/>
        </p:nvSpPr>
        <p:spPr>
          <a:xfrm>
            <a:off x="3315638" y="3035225"/>
            <a:ext cx="2266776" cy="467303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tx1"/>
                </a:solidFill>
              </a:rPr>
              <a:t>Закупки </a:t>
            </a:r>
          </a:p>
          <a:p>
            <a:pPr algn="ctr"/>
            <a:r>
              <a:rPr lang="ru-RU" sz="1200" dirty="0">
                <a:solidFill>
                  <a:schemeClr val="tx1"/>
                </a:solidFill>
              </a:rPr>
              <a:t>с 01.08.2023 по 16.02.2024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" name="Rectangle: Rounded Corners 96">
            <a:extLst>
              <a:ext uri="{FF2B5EF4-FFF2-40B4-BE49-F238E27FC236}">
                <a16:creationId xmlns:a16="http://schemas.microsoft.com/office/drawing/2014/main" id="{DFD56E2E-4983-C5B4-6186-152CE186BABF}"/>
              </a:ext>
            </a:extLst>
          </p:cNvPr>
          <p:cNvSpPr/>
          <p:nvPr/>
        </p:nvSpPr>
        <p:spPr>
          <a:xfrm>
            <a:off x="3310640" y="3579090"/>
            <a:ext cx="2276771" cy="492444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tx1"/>
                </a:solidFill>
              </a:rPr>
              <a:t>Закупки </a:t>
            </a:r>
          </a:p>
          <a:p>
            <a:pPr algn="ctr"/>
            <a:r>
              <a:rPr lang="ru-RU" sz="1200" dirty="0">
                <a:solidFill>
                  <a:schemeClr val="tx1"/>
                </a:solidFill>
              </a:rPr>
              <a:t>с 19.02.2024 по 31.07.2024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3" name="Rectangle: Rounded Corners 96">
            <a:extLst>
              <a:ext uri="{FF2B5EF4-FFF2-40B4-BE49-F238E27FC236}">
                <a16:creationId xmlns:a16="http://schemas.microsoft.com/office/drawing/2014/main" id="{31385ADB-65D1-38C2-C5BF-2261F7FDAAEC}"/>
              </a:ext>
            </a:extLst>
          </p:cNvPr>
          <p:cNvSpPr/>
          <p:nvPr/>
        </p:nvSpPr>
        <p:spPr>
          <a:xfrm>
            <a:off x="3310640" y="4108005"/>
            <a:ext cx="2241975" cy="427623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tx1"/>
                </a:solidFill>
              </a:rPr>
              <a:t>Закупки </a:t>
            </a:r>
          </a:p>
          <a:p>
            <a:pPr algn="ctr"/>
            <a:r>
              <a:rPr lang="ru-RU" sz="1200" dirty="0">
                <a:solidFill>
                  <a:schemeClr val="tx1"/>
                </a:solidFill>
              </a:rPr>
              <a:t>с 01.08.2023 по 31.07.2024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6" name="Rectangle: Rounded Corners 96">
            <a:extLst>
              <a:ext uri="{FF2B5EF4-FFF2-40B4-BE49-F238E27FC236}">
                <a16:creationId xmlns:a16="http://schemas.microsoft.com/office/drawing/2014/main" id="{3DAB7F4F-D60B-23EB-2AF7-2B0EE17F852B}"/>
              </a:ext>
            </a:extLst>
          </p:cNvPr>
          <p:cNvSpPr/>
          <p:nvPr/>
        </p:nvSpPr>
        <p:spPr>
          <a:xfrm>
            <a:off x="5824572" y="3059942"/>
            <a:ext cx="2361590" cy="427623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tx1"/>
                </a:solidFill>
              </a:rPr>
              <a:t>Период фиксации</a:t>
            </a:r>
          </a:p>
          <a:p>
            <a:pPr algn="ctr"/>
            <a:r>
              <a:rPr lang="ru-RU" sz="1200" dirty="0">
                <a:solidFill>
                  <a:schemeClr val="tx1"/>
                </a:solidFill>
              </a:rPr>
              <a:t>с 22.01.2024 по 15.03.2024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7" name="Rectangle: Rounded Corners 96">
            <a:extLst>
              <a:ext uri="{FF2B5EF4-FFF2-40B4-BE49-F238E27FC236}">
                <a16:creationId xmlns:a16="http://schemas.microsoft.com/office/drawing/2014/main" id="{E43AD946-59EB-50D2-C29A-6E147DDE79A0}"/>
              </a:ext>
            </a:extLst>
          </p:cNvPr>
          <p:cNvSpPr/>
          <p:nvPr/>
        </p:nvSpPr>
        <p:spPr>
          <a:xfrm>
            <a:off x="5797639" y="3588968"/>
            <a:ext cx="2361590" cy="461495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tx1"/>
                </a:solidFill>
              </a:rPr>
              <a:t>Период фиксации</a:t>
            </a:r>
          </a:p>
          <a:p>
            <a:pPr algn="ctr"/>
            <a:r>
              <a:rPr lang="ru-RU" sz="1200" dirty="0">
                <a:solidFill>
                  <a:schemeClr val="tx1"/>
                </a:solidFill>
              </a:rPr>
              <a:t>с 13.05.2024 по 09.08.2024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8" name="Rectangle: Rounded Corners 96">
            <a:extLst>
              <a:ext uri="{FF2B5EF4-FFF2-40B4-BE49-F238E27FC236}">
                <a16:creationId xmlns:a16="http://schemas.microsoft.com/office/drawing/2014/main" id="{A55ACC79-CAFA-A751-06DB-590EC05CE0BF}"/>
              </a:ext>
            </a:extLst>
          </p:cNvPr>
          <p:cNvSpPr/>
          <p:nvPr/>
        </p:nvSpPr>
        <p:spPr>
          <a:xfrm>
            <a:off x="5751315" y="4094314"/>
            <a:ext cx="2361590" cy="455004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tx1"/>
                </a:solidFill>
              </a:rPr>
              <a:t>Период фиксации</a:t>
            </a:r>
          </a:p>
          <a:p>
            <a:pPr algn="ctr"/>
            <a:r>
              <a:rPr lang="ru-RU" sz="1200" dirty="0">
                <a:solidFill>
                  <a:schemeClr val="tx1"/>
                </a:solidFill>
              </a:rPr>
              <a:t>с 19.02.2024 по 09.08.2024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9" name="Rectangle: Rounded Corners 96">
            <a:extLst>
              <a:ext uri="{FF2B5EF4-FFF2-40B4-BE49-F238E27FC236}">
                <a16:creationId xmlns:a16="http://schemas.microsoft.com/office/drawing/2014/main" id="{6B240582-CB74-99C8-D425-B6580C1F41EB}"/>
              </a:ext>
            </a:extLst>
          </p:cNvPr>
          <p:cNvSpPr/>
          <p:nvPr/>
        </p:nvSpPr>
        <p:spPr>
          <a:xfrm>
            <a:off x="8565097" y="3070048"/>
            <a:ext cx="2361590" cy="427623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tx1"/>
                </a:solidFill>
              </a:rPr>
              <a:t>Период расчета </a:t>
            </a:r>
          </a:p>
          <a:p>
            <a:pPr algn="ctr"/>
            <a:r>
              <a:rPr lang="ru-RU" sz="1200" dirty="0">
                <a:solidFill>
                  <a:schemeClr val="tx1"/>
                </a:solidFill>
              </a:rPr>
              <a:t>с 18.03.2024 по 29.04.2024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1" name="Rectangle: Rounded Corners 96">
            <a:extLst>
              <a:ext uri="{FF2B5EF4-FFF2-40B4-BE49-F238E27FC236}">
                <a16:creationId xmlns:a16="http://schemas.microsoft.com/office/drawing/2014/main" id="{9E85EF70-5925-9C68-E767-7D393E9E960B}"/>
              </a:ext>
            </a:extLst>
          </p:cNvPr>
          <p:cNvSpPr/>
          <p:nvPr/>
        </p:nvSpPr>
        <p:spPr>
          <a:xfrm>
            <a:off x="8565097" y="3579090"/>
            <a:ext cx="2361590" cy="427623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tx1"/>
                </a:solidFill>
              </a:rPr>
              <a:t>Период расчета </a:t>
            </a:r>
          </a:p>
          <a:p>
            <a:pPr algn="ctr"/>
            <a:r>
              <a:rPr lang="ru-RU" sz="1200" dirty="0">
                <a:solidFill>
                  <a:schemeClr val="tx1"/>
                </a:solidFill>
              </a:rPr>
              <a:t>с 11.09.2024 по 31.10.2024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2" name="Rectangle: Rounded Corners 96">
            <a:extLst>
              <a:ext uri="{FF2B5EF4-FFF2-40B4-BE49-F238E27FC236}">
                <a16:creationId xmlns:a16="http://schemas.microsoft.com/office/drawing/2014/main" id="{BF06B52B-7686-CFEE-9C05-518EB86E3303}"/>
              </a:ext>
            </a:extLst>
          </p:cNvPr>
          <p:cNvSpPr/>
          <p:nvPr/>
        </p:nvSpPr>
        <p:spPr>
          <a:xfrm>
            <a:off x="8565097" y="4121695"/>
            <a:ext cx="2361590" cy="427623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tx1"/>
                </a:solidFill>
              </a:rPr>
              <a:t>Период расчета </a:t>
            </a:r>
          </a:p>
          <a:p>
            <a:pPr algn="ctr"/>
            <a:r>
              <a:rPr lang="ru-RU" sz="1200" dirty="0">
                <a:solidFill>
                  <a:schemeClr val="tx1"/>
                </a:solidFill>
              </a:rPr>
              <a:t>с 11.09.2024 по 31.10.2024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67D8609-3187-DCD8-5C7C-71297F892111}"/>
              </a:ext>
            </a:extLst>
          </p:cNvPr>
          <p:cNvSpPr txBox="1"/>
          <p:nvPr/>
        </p:nvSpPr>
        <p:spPr>
          <a:xfrm>
            <a:off x="1582741" y="6519759"/>
            <a:ext cx="8520047" cy="24622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ru-RU" sz="1600" i="1" dirty="0">
                <a:latin typeface="Arial" panose="020B0604020202020204" pitchFamily="34" charset="0"/>
              </a:rPr>
              <a:t>*</a:t>
            </a:r>
            <a:r>
              <a:rPr lang="ru-RU" sz="1200" i="1" dirty="0">
                <a:latin typeface="Arial" panose="020B0604020202020204" pitchFamily="34" charset="0"/>
              </a:rPr>
              <a:t>Для всех вариантов участия «Весна», «Осень», «Классический»</a:t>
            </a:r>
            <a:endParaRPr lang="en-US" sz="1600" i="1" dirty="0">
              <a:latin typeface="Arial" panose="020B0604020202020204" pitchFamily="34" charset="0"/>
            </a:endParaRPr>
          </a:p>
        </p:txBody>
      </p:sp>
      <p:sp>
        <p:nvSpPr>
          <p:cNvPr id="2" name="Rectangle: Rounded Corners 86">
            <a:extLst>
              <a:ext uri="{FF2B5EF4-FFF2-40B4-BE49-F238E27FC236}">
                <a16:creationId xmlns:a16="http://schemas.microsoft.com/office/drawing/2014/main" id="{D08A889F-0719-2A0E-87BC-00A2CE6CAA1E}"/>
              </a:ext>
            </a:extLst>
          </p:cNvPr>
          <p:cNvSpPr/>
          <p:nvPr/>
        </p:nvSpPr>
        <p:spPr>
          <a:xfrm>
            <a:off x="618158" y="4627234"/>
            <a:ext cx="10938874" cy="1778575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BBF191C-8329-17D7-D062-F3621A409058}"/>
              </a:ext>
            </a:extLst>
          </p:cNvPr>
          <p:cNvSpPr txBox="1"/>
          <p:nvPr/>
        </p:nvSpPr>
        <p:spPr>
          <a:xfrm>
            <a:off x="1546708" y="4612971"/>
            <a:ext cx="4204607" cy="24622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ru-RU" sz="1600" i="1" dirty="0">
                <a:latin typeface="Arial" panose="020B0604020202020204" pitchFamily="34" charset="0"/>
              </a:rPr>
              <a:t>Минимальный порог*</a:t>
            </a:r>
            <a:endParaRPr lang="en-US" sz="1600" i="1" dirty="0">
              <a:latin typeface="Arial" panose="020B0604020202020204" pitchFamily="34" charset="0"/>
            </a:endParaRPr>
          </a:p>
        </p:txBody>
      </p:sp>
      <p:pic>
        <p:nvPicPr>
          <p:cNvPr id="25" name="Picture 31">
            <a:extLst>
              <a:ext uri="{FF2B5EF4-FFF2-40B4-BE49-F238E27FC236}">
                <a16:creationId xmlns:a16="http://schemas.microsoft.com/office/drawing/2014/main" id="{19C234D6-9BF0-74A3-AC7C-7EE79451D7E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78791" y="5186481"/>
            <a:ext cx="543080" cy="467302"/>
          </a:xfrm>
          <a:prstGeom prst="rect">
            <a:avLst/>
          </a:prstGeom>
        </p:spPr>
      </p:pic>
      <p:sp>
        <p:nvSpPr>
          <p:cNvPr id="26" name="Rectangle: Rounded Corners 94">
            <a:extLst>
              <a:ext uri="{FF2B5EF4-FFF2-40B4-BE49-F238E27FC236}">
                <a16:creationId xmlns:a16="http://schemas.microsoft.com/office/drawing/2014/main" id="{F0D9EACE-D7D9-3837-0EDB-802ADFE76DFF}"/>
              </a:ext>
            </a:extLst>
          </p:cNvPr>
          <p:cNvSpPr/>
          <p:nvPr/>
        </p:nvSpPr>
        <p:spPr>
          <a:xfrm>
            <a:off x="6573964" y="4840886"/>
            <a:ext cx="3890864" cy="496152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&gt;16% </a:t>
            </a:r>
            <a:r>
              <a:rPr lang="ru-RU" sz="1400" dirty="0">
                <a:solidFill>
                  <a:schemeClr val="tx1"/>
                </a:solidFill>
              </a:rPr>
              <a:t>рост по в рублях по сравнению  с аналогичным периодом прошлого года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" name="Rectangle: Rounded Corners 96">
            <a:extLst>
              <a:ext uri="{FF2B5EF4-FFF2-40B4-BE49-F238E27FC236}">
                <a16:creationId xmlns:a16="http://schemas.microsoft.com/office/drawing/2014/main" id="{37043F71-B15C-DFF6-C863-828DB601667C}"/>
              </a:ext>
            </a:extLst>
          </p:cNvPr>
          <p:cNvSpPr/>
          <p:nvPr/>
        </p:nvSpPr>
        <p:spPr>
          <a:xfrm>
            <a:off x="1418268" y="4878985"/>
            <a:ext cx="3890864" cy="467303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&gt; </a:t>
            </a:r>
            <a:r>
              <a:rPr lang="ru-RU" sz="1400" b="1" dirty="0">
                <a:solidFill>
                  <a:schemeClr val="tx1"/>
                </a:solidFill>
              </a:rPr>
              <a:t>1</a:t>
            </a:r>
            <a:r>
              <a:rPr lang="en-US" sz="1400" b="1" dirty="0">
                <a:solidFill>
                  <a:schemeClr val="tx1"/>
                </a:solidFill>
              </a:rPr>
              <a:t>0 </a:t>
            </a:r>
            <a:r>
              <a:rPr lang="ru-RU" sz="1400" b="1" dirty="0">
                <a:solidFill>
                  <a:schemeClr val="tx1"/>
                </a:solidFill>
              </a:rPr>
              <a:t>млн</a:t>
            </a:r>
            <a:r>
              <a:rPr lang="ru-RU" sz="1400" dirty="0">
                <a:solidFill>
                  <a:schemeClr val="tx1"/>
                </a:solidFill>
              </a:rPr>
              <a:t>. рублей закупок без НДС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" name="Rectangle: Rounded Corners 94">
            <a:extLst>
              <a:ext uri="{FF2B5EF4-FFF2-40B4-BE49-F238E27FC236}">
                <a16:creationId xmlns:a16="http://schemas.microsoft.com/office/drawing/2014/main" id="{9A888919-82E9-ED19-11D0-EC208F2FD661}"/>
              </a:ext>
            </a:extLst>
          </p:cNvPr>
          <p:cNvSpPr/>
          <p:nvPr/>
        </p:nvSpPr>
        <p:spPr>
          <a:xfrm>
            <a:off x="6573964" y="5374336"/>
            <a:ext cx="3890864" cy="467303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&gt;15% </a:t>
            </a:r>
            <a:r>
              <a:rPr lang="ru-RU" sz="1400" dirty="0">
                <a:solidFill>
                  <a:schemeClr val="tx1"/>
                </a:solidFill>
              </a:rPr>
              <a:t>рост по в рублях по сравнению  с аналогичным периодом прошлого года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" name="Rectangle: Rounded Corners 94">
            <a:extLst>
              <a:ext uri="{FF2B5EF4-FFF2-40B4-BE49-F238E27FC236}">
                <a16:creationId xmlns:a16="http://schemas.microsoft.com/office/drawing/2014/main" id="{D1DC4A90-580A-942D-A44A-247CEEC5989A}"/>
              </a:ext>
            </a:extLst>
          </p:cNvPr>
          <p:cNvSpPr/>
          <p:nvPr/>
        </p:nvSpPr>
        <p:spPr>
          <a:xfrm>
            <a:off x="6573964" y="5857422"/>
            <a:ext cx="3890864" cy="47519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&gt;14% </a:t>
            </a:r>
            <a:r>
              <a:rPr lang="ru-RU" sz="1400" dirty="0">
                <a:solidFill>
                  <a:schemeClr val="tx1"/>
                </a:solidFill>
              </a:rPr>
              <a:t>рост по в рублях по сравнению  с аналогичным периодом прошлого года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" name="Rectangle: Rounded Corners 96">
            <a:extLst>
              <a:ext uri="{FF2B5EF4-FFF2-40B4-BE49-F238E27FC236}">
                <a16:creationId xmlns:a16="http://schemas.microsoft.com/office/drawing/2014/main" id="{86B110FD-00E2-5376-0670-B4AF73C14A9B}"/>
              </a:ext>
            </a:extLst>
          </p:cNvPr>
          <p:cNvSpPr/>
          <p:nvPr/>
        </p:nvSpPr>
        <p:spPr>
          <a:xfrm>
            <a:off x="1418268" y="5363572"/>
            <a:ext cx="3890864" cy="467303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&gt; 50 </a:t>
            </a:r>
            <a:r>
              <a:rPr lang="ru-RU" sz="1400" b="1" dirty="0">
                <a:solidFill>
                  <a:schemeClr val="tx1"/>
                </a:solidFill>
              </a:rPr>
              <a:t>млн</a:t>
            </a:r>
            <a:r>
              <a:rPr lang="ru-RU" sz="1400" dirty="0">
                <a:solidFill>
                  <a:schemeClr val="tx1"/>
                </a:solidFill>
              </a:rPr>
              <a:t>. рублей закупок без НДС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" name="Rectangle: Rounded Corners 96">
            <a:extLst>
              <a:ext uri="{FF2B5EF4-FFF2-40B4-BE49-F238E27FC236}">
                <a16:creationId xmlns:a16="http://schemas.microsoft.com/office/drawing/2014/main" id="{1EE211D9-1516-EFA7-5E77-209D97E5076D}"/>
              </a:ext>
            </a:extLst>
          </p:cNvPr>
          <p:cNvSpPr/>
          <p:nvPr/>
        </p:nvSpPr>
        <p:spPr>
          <a:xfrm>
            <a:off x="1418268" y="5850668"/>
            <a:ext cx="3890864" cy="467303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&gt; </a:t>
            </a:r>
            <a:r>
              <a:rPr lang="ru-RU" sz="1400" b="1" dirty="0">
                <a:solidFill>
                  <a:schemeClr val="tx1"/>
                </a:solidFill>
              </a:rPr>
              <a:t>1</a:t>
            </a:r>
            <a:r>
              <a:rPr lang="en-US" sz="1400" b="1" dirty="0">
                <a:solidFill>
                  <a:schemeClr val="tx1"/>
                </a:solidFill>
              </a:rPr>
              <a:t>00 </a:t>
            </a:r>
            <a:r>
              <a:rPr lang="ru-RU" sz="1400" b="1" dirty="0">
                <a:solidFill>
                  <a:schemeClr val="tx1"/>
                </a:solidFill>
              </a:rPr>
              <a:t>млн</a:t>
            </a:r>
            <a:r>
              <a:rPr lang="ru-RU" sz="1400" dirty="0">
                <a:solidFill>
                  <a:schemeClr val="tx1"/>
                </a:solidFill>
              </a:rPr>
              <a:t>. рублей закупок без НДС</a:t>
            </a:r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3" name="Picture 2" descr="A green and black logo&#10;&#10;Description automatically generated">
            <a:extLst>
              <a:ext uri="{FF2B5EF4-FFF2-40B4-BE49-F238E27FC236}">
                <a16:creationId xmlns:a16="http://schemas.microsoft.com/office/drawing/2014/main" id="{8B6C7465-B4A0-AD83-0473-0B8C7109563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0957" y="0"/>
            <a:ext cx="1881043" cy="792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17198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DBA4050D-4BF1-4F49-879D-1496FAD645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DBA4050D-4BF1-4F49-879D-1496FAD645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BAA593-1FDA-404A-83B8-51355B4D8A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Документы, необходимые для участия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7B79971-B172-4879-BDDD-B19F940B213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9C47F3-E74D-462A-9E9A-E7164C68AF73}" type="slidenum">
              <a:rPr lang="en-GB" smtClean="0"/>
              <a:pPr/>
              <a:t>7</a:t>
            </a:fld>
            <a:endParaRPr lang="en-GB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A63B65D6-897E-4FA4-A9A9-BB4E12B557C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17" name="Table 27">
            <a:extLst>
              <a:ext uri="{FF2B5EF4-FFF2-40B4-BE49-F238E27FC236}">
                <a16:creationId xmlns:a16="http://schemas.microsoft.com/office/drawing/2014/main" id="{D6DE2820-689F-49DD-AD42-6A9CC05B88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0255695"/>
              </p:ext>
            </p:extLst>
          </p:nvPr>
        </p:nvGraphicFramePr>
        <p:xfrm>
          <a:off x="438976" y="824446"/>
          <a:ext cx="11571512" cy="2284544"/>
        </p:xfrm>
        <a:graphic>
          <a:graphicData uri="http://schemas.openxmlformats.org/drawingml/2006/table">
            <a:tbl>
              <a:tblPr firstRow="1" bandRow="1">
                <a:tableStyleId>{7A3865B4-4F64-B3FE-C469-865558F4E1D9}</a:tableStyleId>
              </a:tblPr>
              <a:tblGrid>
                <a:gridCol w="2775857">
                  <a:extLst>
                    <a:ext uri="{9D8B030D-6E8A-4147-A177-3AD203B41FA5}">
                      <a16:colId xmlns:a16="http://schemas.microsoft.com/office/drawing/2014/main" val="2584393499"/>
                    </a:ext>
                  </a:extLst>
                </a:gridCol>
                <a:gridCol w="4147457">
                  <a:extLst>
                    <a:ext uri="{9D8B030D-6E8A-4147-A177-3AD203B41FA5}">
                      <a16:colId xmlns:a16="http://schemas.microsoft.com/office/drawing/2014/main" val="4043353393"/>
                    </a:ext>
                  </a:extLst>
                </a:gridCol>
                <a:gridCol w="4648198">
                  <a:extLst>
                    <a:ext uri="{9D8B030D-6E8A-4147-A177-3AD203B41FA5}">
                      <a16:colId xmlns:a16="http://schemas.microsoft.com/office/drawing/2014/main" val="1538901516"/>
                    </a:ext>
                  </a:extLst>
                </a:gridCol>
              </a:tblGrid>
              <a:tr h="196099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4160297"/>
                  </a:ext>
                </a:extLst>
              </a:tr>
              <a:tr h="516704">
                <a:tc>
                  <a:txBody>
                    <a:bodyPr/>
                    <a:lstStyle/>
                    <a:p>
                      <a:endParaRPr lang="en-US" sz="20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ru-RU" sz="20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егистрация онлайн *</a:t>
                      </a:r>
                      <a:endParaRPr lang="en-US" sz="2000" b="1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US" sz="2000" b="1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82329040"/>
                  </a:ext>
                </a:extLst>
              </a:tr>
              <a:tr h="516704">
                <a:tc>
                  <a:txBody>
                    <a:bodyPr/>
                    <a:lstStyle/>
                    <a:p>
                      <a:r>
                        <a:rPr lang="ru-RU" sz="2000" b="1" dirty="0"/>
                        <a:t>Пшеница</a:t>
                      </a:r>
                      <a:r>
                        <a:rPr lang="en-US" sz="2000" b="1" dirty="0"/>
                        <a:t> </a:t>
                      </a:r>
                      <a:r>
                        <a:rPr lang="ru-RU" sz="2000" b="1" dirty="0"/>
                        <a:t>или кукуруза в севообороте</a:t>
                      </a:r>
                      <a:endParaRPr lang="en-US" sz="20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ru-RU" sz="20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татистическая форма 29-СХ или 2-фермер по состоянию </a:t>
                      </a:r>
                    </a:p>
                    <a:p>
                      <a:pPr marL="0" indent="0" algn="ctr" defTabSz="9144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ru-RU" sz="20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 1 ноября 2023</a:t>
                      </a:r>
                      <a:endParaRPr lang="en-US" sz="20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759266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2000" b="1" dirty="0"/>
                        <a:t>Документы</a:t>
                      </a:r>
                      <a:endParaRPr lang="en-US" sz="20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ru-RU" sz="20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НН + банковские реквизиты </a:t>
                      </a:r>
                      <a:endParaRPr lang="en-US" sz="20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US" sz="20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87524893"/>
                  </a:ext>
                </a:extLst>
              </a:tr>
            </a:tbl>
          </a:graphicData>
        </a:graphic>
      </p:graphicFrame>
      <p:sp>
        <p:nvSpPr>
          <p:cNvPr id="9" name="Text Placeholder 22">
            <a:extLst>
              <a:ext uri="{FF2B5EF4-FFF2-40B4-BE49-F238E27FC236}">
                <a16:creationId xmlns:a16="http://schemas.microsoft.com/office/drawing/2014/main" id="{35818F56-1223-4E85-80B2-7FACAE977D5C}"/>
              </a:ext>
            </a:extLst>
          </p:cNvPr>
          <p:cNvSpPr txBox="1">
            <a:spLocks/>
          </p:cNvSpPr>
          <p:nvPr/>
        </p:nvSpPr>
        <p:spPr>
          <a:xfrm>
            <a:off x="602748" y="4039340"/>
            <a:ext cx="9175007" cy="1639745"/>
          </a:xfrm>
          <a:prstGeom prst="rect">
            <a:avLst/>
          </a:prstGeom>
          <a:solidFill>
            <a:schemeClr val="accent6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ClrTx/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800" dirty="0"/>
              <a:t>* ЗоРРО</a:t>
            </a:r>
            <a:r>
              <a:rPr lang="en-US" altLang="en-US" sz="2800" baseline="30000" dirty="0"/>
              <a:t>®</a:t>
            </a:r>
            <a:r>
              <a:rPr lang="ru-RU" sz="2800" dirty="0"/>
              <a:t> предполагает документооборот через цифровую платформу </a:t>
            </a:r>
            <a:r>
              <a:rPr lang="en-US" sz="2800" dirty="0">
                <a:hlinkClick r:id="rId5"/>
              </a:rPr>
              <a:t>https://commodities.cropwise.com</a:t>
            </a:r>
            <a:r>
              <a:rPr lang="ru-RU" sz="2800" dirty="0">
                <a:hlinkClick r:id="rId5"/>
              </a:rPr>
              <a:t>/</a:t>
            </a:r>
            <a:r>
              <a:rPr lang="en-US" sz="2800" dirty="0" err="1">
                <a:hlinkClick r:id="rId5"/>
              </a:rPr>
              <a:t>ru</a:t>
            </a:r>
            <a:r>
              <a:rPr lang="en-US" sz="2800" dirty="0">
                <a:hlinkClick r:id="rId5"/>
              </a:rPr>
              <a:t>/</a:t>
            </a:r>
            <a:r>
              <a:rPr lang="ru-RU" sz="2800" dirty="0"/>
              <a:t> </a:t>
            </a:r>
            <a:endParaRPr lang="en-US" sz="2800" dirty="0"/>
          </a:p>
        </p:txBody>
      </p:sp>
      <p:sp>
        <p:nvSpPr>
          <p:cNvPr id="14" name="Нижний колонтитул 2">
            <a:extLst>
              <a:ext uri="{FF2B5EF4-FFF2-40B4-BE49-F238E27FC236}">
                <a16:creationId xmlns:a16="http://schemas.microsoft.com/office/drawing/2014/main" id="{C3380C23-0B80-4BD8-B783-240713876CE3}"/>
              </a:ext>
            </a:extLst>
          </p:cNvPr>
          <p:cNvSpPr txBox="1">
            <a:spLocks/>
          </p:cNvSpPr>
          <p:nvPr/>
        </p:nvSpPr>
        <p:spPr>
          <a:xfrm>
            <a:off x="6372454" y="6378497"/>
            <a:ext cx="4218656" cy="341054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pl-PL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GB" dirty="0"/>
              <a:t>CLASSIFICATION: Public</a:t>
            </a:r>
          </a:p>
        </p:txBody>
      </p:sp>
      <p:pic>
        <p:nvPicPr>
          <p:cNvPr id="3" name="Picture 2" descr="A green and black logo&#10;&#10;Description automatically generated">
            <a:extLst>
              <a:ext uri="{FF2B5EF4-FFF2-40B4-BE49-F238E27FC236}">
                <a16:creationId xmlns:a16="http://schemas.microsoft.com/office/drawing/2014/main" id="{D5274B2D-D8AF-C137-D0A6-FE7E0FA1761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0957" y="0"/>
            <a:ext cx="1881043" cy="792796"/>
          </a:xfrm>
          <a:prstGeom prst="rect">
            <a:avLst/>
          </a:prstGeom>
        </p:spPr>
      </p:pic>
      <p:pic>
        <p:nvPicPr>
          <p:cNvPr id="5" name="Picture 2">
            <a:extLst>
              <a:ext uri="{FF2B5EF4-FFF2-40B4-BE49-F238E27FC236}">
                <a16:creationId xmlns:a16="http://schemas.microsoft.com/office/drawing/2014/main" id="{E2BEEF14-01F3-A9AF-1935-C6A9EFBAA8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11214" y="3903311"/>
            <a:ext cx="1975983" cy="1963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8290102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8CF68CC2-BEE3-4452-99C6-F5F57DA7E6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10" imgH="409" progId="TCLayout.ActiveDocument.1">
                  <p:embed/>
                </p:oleObj>
              </mc:Choice>
              <mc:Fallback>
                <p:oleObj name="think-cell Slide" r:id="rId5" imgW="410" imgH="409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8CF68CC2-BEE3-4452-99C6-F5F57DA7E6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0F76E665-4FE2-4643-AB4A-F32B032386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059" y="234701"/>
            <a:ext cx="2956635" cy="351921"/>
          </a:xfrm>
        </p:spPr>
        <p:txBody>
          <a:bodyPr vert="horz"/>
          <a:lstStyle/>
          <a:p>
            <a:r>
              <a:rPr lang="ru-RU" sz="1800" dirty="0"/>
              <a:t> </a:t>
            </a:r>
            <a:r>
              <a:rPr lang="ru-RU" sz="2000" dirty="0"/>
              <a:t>Цифровая платформа</a:t>
            </a:r>
            <a:endParaRPr lang="en-US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98FEDB-51C4-491A-B248-445386F35B2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9C47F3-E74D-462A-9E9A-E7164C68AF73}" type="slidenum">
              <a:rPr lang="en-GB" smtClean="0"/>
              <a:pPr/>
              <a:t>8</a:t>
            </a:fld>
            <a:endParaRPr lang="en-GB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E10E0DE-C1D9-4CE9-8B30-56C9913E27C3}"/>
              </a:ext>
            </a:extLst>
          </p:cNvPr>
          <p:cNvSpPr txBox="1"/>
          <p:nvPr/>
        </p:nvSpPr>
        <p:spPr>
          <a:xfrm>
            <a:off x="781235" y="6008481"/>
            <a:ext cx="11274641" cy="418734"/>
          </a:xfrm>
          <a:prstGeom prst="rect">
            <a:avLst/>
          </a:prstGeom>
          <a:noFill/>
        </p:spPr>
        <p:txBody>
          <a:bodyPr wrap="square" rtlCol="0" anchor="ctr">
            <a:normAutofit fontScale="85000" lnSpcReduction="10000"/>
          </a:bodyPr>
          <a:lstStyle/>
          <a:p>
            <a:pPr algn="just">
              <a:lnSpc>
                <a:spcPct val="120000"/>
              </a:lnSpc>
            </a:pPr>
            <a:r>
              <a:rPr lang="ru-RU" sz="1400" b="1" dirty="0">
                <a:latin typeface="+mj-lt"/>
              </a:rPr>
              <a:t>Программа                          </a:t>
            </a:r>
            <a:r>
              <a:rPr lang="ru-RU" sz="1400" dirty="0">
                <a:latin typeface="+mj-lt"/>
              </a:rPr>
              <a:t>- удобный и надежный инструмент защиты от падения цены на товарных рынках для покупателей наших продуктов.</a:t>
            </a:r>
            <a:endParaRPr lang="en-US" sz="1400" dirty="0">
              <a:latin typeface="+mj-lt"/>
            </a:endParaRPr>
          </a:p>
        </p:txBody>
      </p:sp>
      <p:sp>
        <p:nvSpPr>
          <p:cNvPr id="20" name="Нижний колонтитул 2">
            <a:extLst>
              <a:ext uri="{FF2B5EF4-FFF2-40B4-BE49-F238E27FC236}">
                <a16:creationId xmlns:a16="http://schemas.microsoft.com/office/drawing/2014/main" id="{E7649100-C7BD-4B79-906D-F336AB71F566}"/>
              </a:ext>
            </a:extLst>
          </p:cNvPr>
          <p:cNvSpPr txBox="1">
            <a:spLocks/>
          </p:cNvSpPr>
          <p:nvPr/>
        </p:nvSpPr>
        <p:spPr>
          <a:xfrm>
            <a:off x="7206483" y="6489577"/>
            <a:ext cx="4218656" cy="33365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pl-PL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GB" dirty="0"/>
              <a:t>CLASSIFICATION: Public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C698ADC-CDA2-5693-5ABF-9E9A89D837FE}"/>
              </a:ext>
            </a:extLst>
          </p:cNvPr>
          <p:cNvSpPr txBox="1"/>
          <p:nvPr/>
        </p:nvSpPr>
        <p:spPr>
          <a:xfrm>
            <a:off x="304801" y="767606"/>
            <a:ext cx="5652116" cy="49229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RU" sz="2000" b="1" kern="0" dirty="0">
                <a:latin typeface="Arial" panose="020B0604020202020204" pitchFamily="34" charset="0"/>
              </a:rPr>
              <a:t>Цифровая платформа</a:t>
            </a:r>
            <a:r>
              <a:rPr lang="ru-RU" sz="1050" kern="0" dirty="0">
                <a:latin typeface="Arial" panose="020B0604020202020204" pitchFamily="34" charset="0"/>
              </a:rPr>
              <a:t> </a:t>
            </a:r>
            <a:r>
              <a:rPr lang="en-US" sz="1050" kern="0" dirty="0">
                <a:latin typeface="Arial" panose="020B0604020202020204" pitchFamily="34" charset="0"/>
              </a:rPr>
              <a:t>– </a:t>
            </a:r>
            <a:r>
              <a:rPr lang="ru-RU" sz="1600" kern="0" dirty="0">
                <a:latin typeface="Arial" panose="020B0604020202020204" pitchFamily="34" charset="0"/>
              </a:rPr>
              <a:t>это</a:t>
            </a:r>
            <a:r>
              <a:rPr lang="en-US" sz="1600" kern="0" dirty="0">
                <a:latin typeface="Arial" panose="020B0604020202020204" pitchFamily="34" charset="0"/>
              </a:rPr>
              <a:t> </a:t>
            </a:r>
            <a:r>
              <a:rPr lang="ru-RU" sz="1600" kern="0" dirty="0">
                <a:latin typeface="Arial" panose="020B0604020202020204" pitchFamily="34" charset="0"/>
              </a:rPr>
              <a:t>интернет сайт Программы </a:t>
            </a:r>
            <a:r>
              <a:rPr lang="ru-RU" sz="1600" kern="0" dirty="0">
                <a:latin typeface="Arial" panose="020B0604020202020204" pitchFamily="34" charset="0"/>
                <a:hlinkClick r:id="rId7"/>
              </a:rPr>
              <a:t>https://commodities.cropwise.com/ru/</a:t>
            </a:r>
            <a:r>
              <a:rPr lang="ru-RU" sz="1600" kern="0" dirty="0">
                <a:latin typeface="Arial" panose="020B0604020202020204" pitchFamily="34" charset="0"/>
              </a:rPr>
              <a:t>,  позволяющий участнику программы и ООО «Сингента» связываться между собой онлайн для обмена документами, услугами и информацией.</a:t>
            </a:r>
          </a:p>
          <a:p>
            <a:pPr algn="just"/>
            <a:endParaRPr lang="en-US" sz="1600" kern="0" dirty="0">
              <a:latin typeface="Arial" panose="020B0604020202020204" pitchFamily="34" charset="0"/>
            </a:endParaRPr>
          </a:p>
          <a:p>
            <a:pPr algn="just"/>
            <a:r>
              <a:rPr lang="ru-RU" sz="1600" kern="0" dirty="0">
                <a:latin typeface="Arial" panose="020B0604020202020204" pitchFamily="34" charset="0"/>
              </a:rPr>
              <a:t>В личном кабинете</a:t>
            </a:r>
            <a:r>
              <a:rPr lang="en-US" sz="1600" kern="0" dirty="0">
                <a:latin typeface="Arial" panose="020B0604020202020204" pitchFamily="34" charset="0"/>
              </a:rPr>
              <a:t> </a:t>
            </a:r>
            <a:r>
              <a:rPr lang="ru-RU" sz="1600" kern="0" dirty="0">
                <a:latin typeface="Arial" panose="020B0604020202020204" pitchFamily="34" charset="0"/>
              </a:rPr>
              <a:t>Цифровой платформы</a:t>
            </a:r>
            <a:r>
              <a:rPr lang="en-US" sz="1600" kern="0" dirty="0">
                <a:latin typeface="Arial" panose="020B0604020202020204" pitchFamily="34" charset="0"/>
              </a:rPr>
              <a:t> </a:t>
            </a:r>
            <a:r>
              <a:rPr lang="ru-RU" sz="1600" kern="0" dirty="0">
                <a:latin typeface="Arial" panose="020B0604020202020204" pitchFamily="34" charset="0"/>
              </a:rPr>
              <a:t>производиться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kern="0" dirty="0">
                <a:latin typeface="Arial" panose="020B0604020202020204" pitchFamily="34" charset="0"/>
              </a:rPr>
              <a:t>Регистрация участника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kern="0" dirty="0">
                <a:latin typeface="Arial" panose="020B0604020202020204" pitchFamily="34" charset="0"/>
              </a:rPr>
              <a:t>Выбор вариантов участия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kern="0" dirty="0">
                <a:latin typeface="Arial" panose="020B0604020202020204" pitchFamily="34" charset="0"/>
              </a:rPr>
              <a:t>Электронный документооборот (статистические формы, банковские реквизиты, данные реестра ЕГРЮЛ)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kern="0" dirty="0">
                <a:latin typeface="Arial" panose="020B0604020202020204" pitchFamily="34" charset="0"/>
              </a:rPr>
              <a:t>Создание Бонусного соглашения, приложений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kern="0" dirty="0">
                <a:latin typeface="Arial" panose="020B0604020202020204" pitchFamily="34" charset="0"/>
              </a:rPr>
              <a:t>Мониторинг закупок участника и текущего значения выбранного индекса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kern="0" dirty="0">
                <a:latin typeface="Arial" panose="020B0604020202020204" pitchFamily="34" charset="0"/>
              </a:rPr>
              <a:t>Фиксация рыночного значения соответствующего индекса на бирже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kern="0" dirty="0">
                <a:latin typeface="Arial" panose="020B0604020202020204" pitchFamily="34" charset="0"/>
              </a:rPr>
              <a:t>Расчет суммы выплаты (при наличии). </a:t>
            </a:r>
          </a:p>
        </p:txBody>
      </p:sp>
      <p:pic>
        <p:nvPicPr>
          <p:cNvPr id="22" name="Image 2">
            <a:extLst>
              <a:ext uri="{FF2B5EF4-FFF2-40B4-BE49-F238E27FC236}">
                <a16:creationId xmlns:a16="http://schemas.microsoft.com/office/drawing/2014/main" id="{0891E8A8-E160-19B6-001A-87B9FA218C0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723297" y="6078410"/>
            <a:ext cx="1125140" cy="291154"/>
          </a:xfrm>
          <a:prstGeom prst="rect">
            <a:avLst/>
          </a:prstGeom>
        </p:spPr>
      </p:pic>
      <p:pic>
        <p:nvPicPr>
          <p:cNvPr id="3" name="Picture 2" descr="A green and black logo&#10;&#10;Description automatically generated">
            <a:extLst>
              <a:ext uri="{FF2B5EF4-FFF2-40B4-BE49-F238E27FC236}">
                <a16:creationId xmlns:a16="http://schemas.microsoft.com/office/drawing/2014/main" id="{28B72520-C470-FCAE-610E-9FB4BA594D1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0957" y="0"/>
            <a:ext cx="1881043" cy="792796"/>
          </a:xfrm>
          <a:prstGeom prst="rect">
            <a:avLst/>
          </a:prstGeom>
        </p:spPr>
      </p:pic>
      <p:pic>
        <p:nvPicPr>
          <p:cNvPr id="2" name="Video 2">
            <a:hlinkClick r:id="" action="ppaction://media"/>
            <a:extLst>
              <a:ext uri="{FF2B5EF4-FFF2-40B4-BE49-F238E27FC236}">
                <a16:creationId xmlns:a16="http://schemas.microsoft.com/office/drawing/2014/main" id="{CFB9EE6E-0310-E71A-E43D-9986B5E12115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5956918" y="977959"/>
            <a:ext cx="6019060" cy="4153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13289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833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  <p:video>
              <p:cMediaNode vol="80000">
                <p:cTn id="12" repeatCount="indefinite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CB04114-61FC-9CBC-C60D-8A1A76163A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8" y="329063"/>
            <a:ext cx="8750425" cy="649792"/>
          </a:xfrm>
        </p:spPr>
        <p:txBody>
          <a:bodyPr/>
          <a:lstStyle/>
          <a:p>
            <a:r>
              <a:rPr lang="ru-RU" sz="1800" b="1" kern="0" dirty="0">
                <a:latin typeface="+mj-lt"/>
              </a:rPr>
              <a:t>Статистика индексов кукуруза</a:t>
            </a:r>
            <a:r>
              <a:rPr lang="en-US" sz="1800" b="1" kern="0" dirty="0">
                <a:latin typeface="+mj-lt"/>
              </a:rPr>
              <a:t>: 62% </a:t>
            </a:r>
            <a:r>
              <a:rPr lang="ru-RU" sz="1800" b="1" kern="0" dirty="0">
                <a:latin typeface="+mj-lt"/>
              </a:rPr>
              <a:t>и</a:t>
            </a:r>
            <a:r>
              <a:rPr lang="en-US" sz="1800" b="1" kern="0" dirty="0">
                <a:latin typeface="+mj-lt"/>
              </a:rPr>
              <a:t> 77% </a:t>
            </a:r>
            <a:r>
              <a:rPr lang="ru-RU" sz="1800" b="1" kern="0" dirty="0">
                <a:latin typeface="+mj-lt"/>
              </a:rPr>
              <a:t>вероятность получения выплаты по вариантам Весна и Осень </a:t>
            </a:r>
            <a:br>
              <a:rPr lang="en-US" sz="1800" b="1" kern="0" dirty="0">
                <a:latin typeface="+mj-lt"/>
              </a:rPr>
            </a:br>
            <a:r>
              <a:rPr lang="en-US" sz="1400" b="1" i="1" kern="0" dirty="0">
                <a:latin typeface="+mj-lt"/>
              </a:rPr>
              <a:t>(2011 - 2023 </a:t>
            </a:r>
            <a:r>
              <a:rPr lang="ru-RU" sz="1400" b="1" i="1" kern="0" dirty="0">
                <a:latin typeface="+mj-lt"/>
              </a:rPr>
              <a:t>годы</a:t>
            </a:r>
            <a:r>
              <a:rPr lang="en-US" sz="1400" b="1" i="1" kern="0" dirty="0">
                <a:latin typeface="+mj-lt"/>
              </a:rPr>
              <a:t>)</a:t>
            </a: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F0B22062-3D45-3AF0-19AD-1F656449B2A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GB" dirty="0"/>
              <a:t>CLASSIFICATION: </a:t>
            </a:r>
            <a:r>
              <a:rPr lang="en-US" dirty="0"/>
              <a:t>Public</a:t>
            </a:r>
            <a:endParaRPr lang="en-GB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C6891FF4-CED8-6B62-3B95-49BC357A2E7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19C47F3-E74D-462A-9E9A-E7164C68AF73}" type="slidenum">
              <a:rPr lang="en-GB" smtClean="0"/>
              <a:pPr/>
              <a:t>9</a:t>
            </a:fld>
            <a:endParaRPr lang="en-GB"/>
          </a:p>
        </p:txBody>
      </p:sp>
      <p:pic>
        <p:nvPicPr>
          <p:cNvPr id="17" name="Picture 2" descr="A green and black logo&#10;&#10;Description automatically generated">
            <a:extLst>
              <a:ext uri="{FF2B5EF4-FFF2-40B4-BE49-F238E27FC236}">
                <a16:creationId xmlns:a16="http://schemas.microsoft.com/office/drawing/2014/main" id="{154FB624-8989-56B1-EE89-0EDD40C44CEF}"/>
              </a:ext>
            </a:extLst>
          </p:cNvPr>
          <p:cNvPicPr>
            <a:picLocks noChangeAspect="1"/>
          </p:cNvPicPr>
          <p:nvPr/>
        </p:nvPicPr>
        <p:blipFill>
          <a:blip r:embed="rId1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0957" y="0"/>
            <a:ext cx="1881043" cy="792796"/>
          </a:xfrm>
          <a:prstGeom prst="rect">
            <a:avLst/>
          </a:prstGeom>
        </p:spPr>
      </p:pic>
      <p:sp>
        <p:nvSpPr>
          <p:cNvPr id="188" name="Rectangle 144">
            <a:extLst>
              <a:ext uri="{FF2B5EF4-FFF2-40B4-BE49-F238E27FC236}">
                <a16:creationId xmlns:a16="http://schemas.microsoft.com/office/drawing/2014/main" id="{2EF11217-0D66-DB96-1FC6-A6C46B97D546}"/>
              </a:ext>
            </a:extLst>
          </p:cNvPr>
          <p:cNvSpPr/>
          <p:nvPr/>
        </p:nvSpPr>
        <p:spPr>
          <a:xfrm>
            <a:off x="1483874" y="1322388"/>
            <a:ext cx="10448680" cy="2251075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10A1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189" name="Chart 318">
            <a:extLst>
              <a:ext uri="{FF2B5EF4-FFF2-40B4-BE49-F238E27FC236}">
                <a16:creationId xmlns:a16="http://schemas.microsoft.com/office/drawing/2014/main" id="{AE069ED4-A5A8-092A-894A-C6E87075F02C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1589088" y="1433513"/>
          <a:ext cx="10253662" cy="18716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3"/>
          </a:graphicData>
        </a:graphic>
      </p:graphicFrame>
      <p:cxnSp>
        <p:nvCxnSpPr>
          <p:cNvPr id="190" name="Straight Connector 313">
            <a:extLst>
              <a:ext uri="{FF2B5EF4-FFF2-40B4-BE49-F238E27FC236}">
                <a16:creationId xmlns:a16="http://schemas.microsoft.com/office/drawing/2014/main" id="{6FAE5E7E-D7FF-AF9C-65A6-6C89DBD3EA91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3217863" y="1690688"/>
            <a:ext cx="0" cy="23971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91" name="Straight Connector 312">
            <a:extLst>
              <a:ext uri="{FF2B5EF4-FFF2-40B4-BE49-F238E27FC236}">
                <a16:creationId xmlns:a16="http://schemas.microsoft.com/office/drawing/2014/main" id="{E03DE108-4672-F65E-9B39-BE3B00D39E52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2947989" y="1690688"/>
            <a:ext cx="269875" cy="0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2" name="Straight Connector 311">
            <a:extLst>
              <a:ext uri="{FF2B5EF4-FFF2-40B4-BE49-F238E27FC236}">
                <a16:creationId xmlns:a16="http://schemas.microsoft.com/office/drawing/2014/main" id="{49288C06-6B0F-1988-9921-E5D726E5A7BA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V="1">
            <a:off x="2947988" y="1690689"/>
            <a:ext cx="0" cy="20796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3" name="Straight Connector 19">
            <a:extLst>
              <a:ext uri="{FF2B5EF4-FFF2-40B4-BE49-F238E27FC236}">
                <a16:creationId xmlns:a16="http://schemas.microsoft.com/office/drawing/2014/main" id="{A89951EA-B6A3-3C02-C95C-2FD484808469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V="1">
            <a:off x="3702050" y="1546225"/>
            <a:ext cx="0" cy="16351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94" name="Straight Connector 18">
            <a:extLst>
              <a:ext uri="{FF2B5EF4-FFF2-40B4-BE49-F238E27FC236}">
                <a16:creationId xmlns:a16="http://schemas.microsoft.com/office/drawing/2014/main" id="{63073FA8-910A-2D0E-7C40-D283DA2EDBEE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3702050" y="1546225"/>
            <a:ext cx="269875" cy="0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95" name="Straight Connector 17">
            <a:extLst>
              <a:ext uri="{FF2B5EF4-FFF2-40B4-BE49-F238E27FC236}">
                <a16:creationId xmlns:a16="http://schemas.microsoft.com/office/drawing/2014/main" id="{AE26DD58-02D0-2273-239D-D901C0C9F2DA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3971925" y="1546225"/>
            <a:ext cx="0" cy="276225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</p:cxnSp>
      <p:cxnSp>
        <p:nvCxnSpPr>
          <p:cNvPr id="196" name="Straight Connector 24">
            <a:extLst>
              <a:ext uri="{FF2B5EF4-FFF2-40B4-BE49-F238E27FC236}">
                <a16:creationId xmlns:a16="http://schemas.microsoft.com/office/drawing/2014/main" id="{578FAC9B-F686-FC1E-782E-066F359525D8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5211764" y="2460625"/>
            <a:ext cx="269875" cy="0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197" name="Straight Connector 23">
            <a:extLst>
              <a:ext uri="{FF2B5EF4-FFF2-40B4-BE49-F238E27FC236}">
                <a16:creationId xmlns:a16="http://schemas.microsoft.com/office/drawing/2014/main" id="{93D027AF-BE3A-DF9E-3235-E7CDE36E6AD7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5481638" y="2460625"/>
            <a:ext cx="0" cy="23971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sm" len="sm"/>
            <a:tailEnd type="triangle" w="med" len="med"/>
          </a:ln>
          <a:effectLst/>
        </p:spPr>
      </p:cxnSp>
      <p:cxnSp>
        <p:nvCxnSpPr>
          <p:cNvPr id="198" name="Straight Connector 25">
            <a:extLst>
              <a:ext uri="{FF2B5EF4-FFF2-40B4-BE49-F238E27FC236}">
                <a16:creationId xmlns:a16="http://schemas.microsoft.com/office/drawing/2014/main" id="{9B320BF4-42BB-124C-F9D9-F58F1E7EA67D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 flipV="1">
            <a:off x="5211763" y="2460625"/>
            <a:ext cx="0" cy="204788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199" name="Straight Connector 30">
            <a:extLst>
              <a:ext uri="{FF2B5EF4-FFF2-40B4-BE49-F238E27FC236}">
                <a16:creationId xmlns:a16="http://schemas.microsoft.com/office/drawing/2014/main" id="{C67A1BAF-12A3-8398-6DD9-DC14B73F3948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6719889" y="2508250"/>
            <a:ext cx="269875" cy="0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200" name="Straight Connector 29">
            <a:extLst>
              <a:ext uri="{FF2B5EF4-FFF2-40B4-BE49-F238E27FC236}">
                <a16:creationId xmlns:a16="http://schemas.microsoft.com/office/drawing/2014/main" id="{9370F66C-94B5-7EC4-7E95-73CA7C9E74BA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6989763" y="2508250"/>
            <a:ext cx="0" cy="23971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sm" len="sm"/>
            <a:tailEnd type="triangle" w="med" len="med"/>
          </a:ln>
          <a:effectLst/>
        </p:spPr>
      </p:cxnSp>
      <p:cxnSp>
        <p:nvCxnSpPr>
          <p:cNvPr id="201" name="Straight Connector 31">
            <a:extLst>
              <a:ext uri="{FF2B5EF4-FFF2-40B4-BE49-F238E27FC236}">
                <a16:creationId xmlns:a16="http://schemas.microsoft.com/office/drawing/2014/main" id="{B3706973-1924-440F-4217-8951FAF888E6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 flipV="1">
            <a:off x="6719888" y="2508249"/>
            <a:ext cx="0" cy="204788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202" name="Straight Connector 32">
            <a:extLst>
              <a:ext uri="{FF2B5EF4-FFF2-40B4-BE49-F238E27FC236}">
                <a16:creationId xmlns:a16="http://schemas.microsoft.com/office/drawing/2014/main" id="{617E7761-9644-B623-16E3-A7F98AAFF62E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 flipV="1">
            <a:off x="7473950" y="2493962"/>
            <a:ext cx="0" cy="211138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203" name="Straight Connector 34">
            <a:extLst>
              <a:ext uri="{FF2B5EF4-FFF2-40B4-BE49-F238E27FC236}">
                <a16:creationId xmlns:a16="http://schemas.microsoft.com/office/drawing/2014/main" id="{1B476986-3EC3-1843-72D5-0835BDB00492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7473951" y="2493963"/>
            <a:ext cx="269875" cy="0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204" name="Straight Connector 33">
            <a:extLst>
              <a:ext uri="{FF2B5EF4-FFF2-40B4-BE49-F238E27FC236}">
                <a16:creationId xmlns:a16="http://schemas.microsoft.com/office/drawing/2014/main" id="{5A6F1E98-7420-A3EE-1EFF-85C2364E16C9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7743825" y="2493963"/>
            <a:ext cx="0" cy="23971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</p:cxnSp>
      <p:cxnSp>
        <p:nvCxnSpPr>
          <p:cNvPr id="205" name="Straight Connector 35">
            <a:extLst>
              <a:ext uri="{FF2B5EF4-FFF2-40B4-BE49-F238E27FC236}">
                <a16:creationId xmlns:a16="http://schemas.microsoft.com/office/drawing/2014/main" id="{EED5188C-6542-6B1A-9521-023AC85E2A70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8499475" y="2506663"/>
            <a:ext cx="0" cy="23971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sm" len="sm"/>
            <a:tailEnd type="triangle" w="med" len="med"/>
          </a:ln>
          <a:effectLst/>
        </p:spPr>
      </p:cxnSp>
      <p:cxnSp>
        <p:nvCxnSpPr>
          <p:cNvPr id="206" name="Straight Connector 36">
            <a:extLst>
              <a:ext uri="{FF2B5EF4-FFF2-40B4-BE49-F238E27FC236}">
                <a16:creationId xmlns:a16="http://schemas.microsoft.com/office/drawing/2014/main" id="{1FBB5E27-AF2C-378B-DEAD-AF4B66EE6CDD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8229601" y="2506663"/>
            <a:ext cx="269875" cy="0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207" name="Straight Connector 37">
            <a:extLst>
              <a:ext uri="{FF2B5EF4-FFF2-40B4-BE49-F238E27FC236}">
                <a16:creationId xmlns:a16="http://schemas.microsoft.com/office/drawing/2014/main" id="{5C47D2C2-E898-E422-5C77-88FE197E5110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 flipV="1">
            <a:off x="8229600" y="2506664"/>
            <a:ext cx="0" cy="18891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208" name="Straight Connector 302">
            <a:extLst>
              <a:ext uri="{FF2B5EF4-FFF2-40B4-BE49-F238E27FC236}">
                <a16:creationId xmlns:a16="http://schemas.microsoft.com/office/drawing/2014/main" id="{E7AECE08-4503-0A09-7D6B-7B08DDC2D30E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8983664" y="2525713"/>
            <a:ext cx="269875" cy="0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9" name="Straight Connector 303">
            <a:extLst>
              <a:ext uri="{FF2B5EF4-FFF2-40B4-BE49-F238E27FC236}">
                <a16:creationId xmlns:a16="http://schemas.microsoft.com/office/drawing/2014/main" id="{055EF747-F1A6-5415-3EBD-786CCE211443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9253538" y="2525713"/>
            <a:ext cx="0" cy="32226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210" name="Straight Connector 301">
            <a:extLst>
              <a:ext uri="{FF2B5EF4-FFF2-40B4-BE49-F238E27FC236}">
                <a16:creationId xmlns:a16="http://schemas.microsoft.com/office/drawing/2014/main" id="{4F7AA8DF-4F3E-52DF-88F7-FF318DC47BFB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 flipV="1">
            <a:off x="8983663" y="2525713"/>
            <a:ext cx="0" cy="16351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1" name="Straight Connector 41">
            <a:extLst>
              <a:ext uri="{FF2B5EF4-FFF2-40B4-BE49-F238E27FC236}">
                <a16:creationId xmlns:a16="http://schemas.microsoft.com/office/drawing/2014/main" id="{AA78810C-8884-DA50-C917-E056BF015088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 flipV="1">
            <a:off x="11247438" y="1646237"/>
            <a:ext cx="0" cy="215900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2" name="Straight Connector 43">
            <a:extLst>
              <a:ext uri="{FF2B5EF4-FFF2-40B4-BE49-F238E27FC236}">
                <a16:creationId xmlns:a16="http://schemas.microsoft.com/office/drawing/2014/main" id="{1DAA376B-3E92-3043-E818-A57954F6A6AF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11517313" y="1646238"/>
            <a:ext cx="0" cy="23971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213" name="Straight Connector 42">
            <a:extLst>
              <a:ext uri="{FF2B5EF4-FFF2-40B4-BE49-F238E27FC236}">
                <a16:creationId xmlns:a16="http://schemas.microsoft.com/office/drawing/2014/main" id="{DA7419E6-8B32-D15F-421E-837FCD20C2B6}"/>
              </a:ext>
            </a:extLst>
          </p:cNvPr>
          <p:cNvCxnSpPr>
            <a:cxnSpLocks/>
          </p:cNvCxnSpPr>
          <p:nvPr>
            <p:custDataLst>
              <p:tags r:id="rId25"/>
            </p:custDataLst>
          </p:nvPr>
        </p:nvCxnSpPr>
        <p:spPr bwMode="auto">
          <a:xfrm>
            <a:off x="11247439" y="1646238"/>
            <a:ext cx="269875" cy="0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14" name="Text Placeholder 2">
            <a:extLst>
              <a:ext uri="{FF2B5EF4-FFF2-40B4-BE49-F238E27FC236}">
                <a16:creationId xmlns:a16="http://schemas.microsoft.com/office/drawing/2014/main" id="{A0117A22-19EA-DDE5-D7FD-D8EAE82F8796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624013" y="1371600"/>
            <a:ext cx="6540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Центы/бушель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5" name="Text Placeholder 2">
            <a:extLst>
              <a:ext uri="{FF2B5EF4-FFF2-40B4-BE49-F238E27FC236}">
                <a16:creationId xmlns:a16="http://schemas.microsoft.com/office/drawing/2014/main" id="{604F23E1-B4AA-1EED-F0F3-457797283DD9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2162175" y="3152775"/>
            <a:ext cx="3302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965923A-B3C3-4381-8E11-C59282CEE72D}" type="datetime'''''Z''''''''''''''''''''C''''''K''1''''''1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ZCK11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6" name="Text Placeholder 2">
            <a:extLst>
              <a:ext uri="{FF2B5EF4-FFF2-40B4-BE49-F238E27FC236}">
                <a16:creationId xmlns:a16="http://schemas.microsoft.com/office/drawing/2014/main" id="{AD4F84AC-A226-EC59-DE32-D035AC2B01FC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2917825" y="3152775"/>
            <a:ext cx="3302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13F0DD2-10AD-4351-89EA-57A3DF7B2944}" type="datetime'''Z''''''CK1''2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ZCK12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7" name="Text Placeholder 2">
            <a:extLst>
              <a:ext uri="{FF2B5EF4-FFF2-40B4-BE49-F238E27FC236}">
                <a16:creationId xmlns:a16="http://schemas.microsoft.com/office/drawing/2014/main" id="{BE1F8ADC-8E98-D429-AFBA-6CBC69CBFB6C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3671888" y="3152775"/>
            <a:ext cx="3302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EFE1C44-FE3A-43F1-B7C2-0888024DF5F9}" type="datetime'''''''''''''''Z''''''''''''''''''''''CK''1''''''''3''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ZCK13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8" name="Text Placeholder 2">
            <a:extLst>
              <a:ext uri="{FF2B5EF4-FFF2-40B4-BE49-F238E27FC236}">
                <a16:creationId xmlns:a16="http://schemas.microsoft.com/office/drawing/2014/main" id="{459241F6-0C81-C93A-79BD-A47CB86875BD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11217275" y="3152775"/>
            <a:ext cx="3302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AE9BC0F-045B-41B2-B80F-623AEDBE4F54}" type="datetime'''''''''Z''C''K''''''''''''''''''''''''''''''2''3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ZCK23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9" name="Text Placeholder 2">
            <a:extLst>
              <a:ext uri="{FF2B5EF4-FFF2-40B4-BE49-F238E27FC236}">
                <a16:creationId xmlns:a16="http://schemas.microsoft.com/office/drawing/2014/main" id="{17A1F8E6-DF82-4A92-B68D-EAC2E1511879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10463213" y="3152775"/>
            <a:ext cx="3302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394CD80-13DB-410C-B721-C294C55A2CE7}" type="datetime'Z''''''''''''''C''K''''''''2''''''''2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ZCK22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0" name="Text Placeholder 2">
            <a:extLst>
              <a:ext uri="{FF2B5EF4-FFF2-40B4-BE49-F238E27FC236}">
                <a16:creationId xmlns:a16="http://schemas.microsoft.com/office/drawing/2014/main" id="{0B0B0693-AF50-52C2-C992-B522C16B89A9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9707563" y="3152775"/>
            <a:ext cx="3302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E9D4D01-9740-4B9C-85A3-DF279565BDD7}" type="datetime'''''''''''''''''Z''''''C''''''''K''''''2''''''''''''''''''1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ZCK21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1" name="Text Placeholder 2">
            <a:extLst>
              <a:ext uri="{FF2B5EF4-FFF2-40B4-BE49-F238E27FC236}">
                <a16:creationId xmlns:a16="http://schemas.microsoft.com/office/drawing/2014/main" id="{19EA86E2-6B73-BA14-981E-510393D1FAB8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8953500" y="3152775"/>
            <a:ext cx="3302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E7C7F74-5DD6-4CDA-9F42-03FB7E6D7B90}" type="datetime'Z''''''''''''''''''CK''''''''''''''''''''''''2''''''''0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ZCK20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2" name="Text Placeholder 2">
            <a:extLst>
              <a:ext uri="{FF2B5EF4-FFF2-40B4-BE49-F238E27FC236}">
                <a16:creationId xmlns:a16="http://schemas.microsoft.com/office/drawing/2014/main" id="{F819DF94-8D46-BEB3-C0BF-5EBC16A1A0A8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8199438" y="3152775"/>
            <a:ext cx="3302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4DF0411-36D5-4429-ACC8-356E180CF49B}" type="datetime'Z''''''''''''''''''''''CK1''''''''''''''''''''''''''''''9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ZCK19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3" name="Text Placeholder 2">
            <a:extLst>
              <a:ext uri="{FF2B5EF4-FFF2-40B4-BE49-F238E27FC236}">
                <a16:creationId xmlns:a16="http://schemas.microsoft.com/office/drawing/2014/main" id="{A76B689E-9615-6753-FB54-FAF2E29C7E92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7443788" y="3152775"/>
            <a:ext cx="3302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19F6D98-C03B-47A8-AC45-323AA1708784}" type="datetime'''''''Z''''''''''''''''''''C''''''''''''K''''18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ZCK18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4" name="Text Placeholder 2">
            <a:extLst>
              <a:ext uri="{FF2B5EF4-FFF2-40B4-BE49-F238E27FC236}">
                <a16:creationId xmlns:a16="http://schemas.microsoft.com/office/drawing/2014/main" id="{45FCBA47-331C-957E-14F6-C3A0920B3E6D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5181600" y="3152775"/>
            <a:ext cx="3302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3EEC487-D697-48D0-A232-7F49597CF5DE}" type="datetime'Z''''''''C''''''''''''''''''''K''''''15''''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ZCK15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5" name="Text Placeholder 2">
            <a:extLst>
              <a:ext uri="{FF2B5EF4-FFF2-40B4-BE49-F238E27FC236}">
                <a16:creationId xmlns:a16="http://schemas.microsoft.com/office/drawing/2014/main" id="{FB657EAF-CF6C-27D3-8C8A-87BD42343B2D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6689725" y="3152775"/>
            <a:ext cx="3302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389AEAD-BFE6-422D-9334-A2F9323788E6}" type="datetime'''''''Z''C''K''''''''''''''''1''''''''''''7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ZCK17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6" name="Text Placeholder 2">
            <a:extLst>
              <a:ext uri="{FF2B5EF4-FFF2-40B4-BE49-F238E27FC236}">
                <a16:creationId xmlns:a16="http://schemas.microsoft.com/office/drawing/2014/main" id="{061901E2-0770-90A7-6EE2-9ED8EBD76C2E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5935663" y="3152775"/>
            <a:ext cx="3302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A60DF57-A60D-4403-B2A0-885B02F3E3D6}" type="datetime'''Z''''''''''''''C''''''''''''''''''''''''''K''1''6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ZCK16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7" name="Text Placeholder 2">
            <a:extLst>
              <a:ext uri="{FF2B5EF4-FFF2-40B4-BE49-F238E27FC236}">
                <a16:creationId xmlns:a16="http://schemas.microsoft.com/office/drawing/2014/main" id="{70D6E56C-C11E-501B-6D78-11BB535872E6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4425950" y="3152775"/>
            <a:ext cx="3302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78976CD-0711-4B42-9CCA-B1B89046D475}" type="datetime'Z''CK''''''''''''''''''''''''''''''''1''''''''4''''''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ZCK14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8" name="Google Shape;11;p28">
            <a:extLst>
              <a:ext uri="{FF2B5EF4-FFF2-40B4-BE49-F238E27FC236}">
                <a16:creationId xmlns:a16="http://schemas.microsoft.com/office/drawing/2014/main" id="{E707040B-5343-3FA7-58CA-72C6F69DFBA5}"/>
              </a:ext>
            </a:extLst>
          </p:cNvPr>
          <p:cNvSpPr txBox="1"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2894013" y="1604963"/>
            <a:ext cx="377825" cy="173038"/>
          </a:xfrm>
          <a:prstGeom prst="ellipse">
            <a:avLst/>
          </a:prstGeom>
          <a:solidFill>
            <a:srgbClr val="010A19"/>
          </a:solidFill>
          <a:ln w="9525" cmpd="sng" algn="ctr">
            <a:solidFill>
              <a:srgbClr val="00004B"/>
            </a:solidFill>
          </a:ln>
          <a:effectLst/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E7FC538C-503E-4A51-9C80-72085B0950D1}" type="datetime'''''''''''-''''''''''''''''''''1'''',''''''''6''''''%'''">
              <a:rPr kumimoji="0" lang="en-US" altLang="en-US" sz="800" b="1" i="0" u="none" strike="noStrike" kern="0" cap="none" spc="0" normalizeH="0" baseline="0" noProof="0" smtClean="0">
                <a:ln>
                  <a:noFill/>
                </a:ln>
                <a:solidFill>
                  <a:srgbClr val="73DC78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-1,6%</a:t>
            </a:fld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73DC78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29" name="Text Placeholder 2">
            <a:extLst>
              <a:ext uri="{FF2B5EF4-FFF2-40B4-BE49-F238E27FC236}">
                <a16:creationId xmlns:a16="http://schemas.microsoft.com/office/drawing/2014/main" id="{49D5876E-DC03-2EC0-ED83-F3815EA1D0C0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3648075" y="1460500"/>
            <a:ext cx="377825" cy="173038"/>
          </a:xfrm>
          <a:prstGeom prst="ellipse">
            <a:avLst/>
          </a:prstGeom>
          <a:solidFill>
            <a:srgbClr val="010A19"/>
          </a:solidFill>
          <a:ln w="9525" algn="ctr">
            <a:solidFill>
              <a:srgbClr val="00004B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40DB059-25D4-40D3-8F6F-A4378CCAF3EB}" type="datetime'''-''''''''''''''''''''''5'''''''''''',''''''''3''''%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73DC7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-5,3%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73DC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0" name="Oval 66">
            <a:extLst>
              <a:ext uri="{FF2B5EF4-FFF2-40B4-BE49-F238E27FC236}">
                <a16:creationId xmlns:a16="http://schemas.microsoft.com/office/drawing/2014/main" id="{7A1D23F1-36DE-25E7-7149-E71CEB1C0836}"/>
              </a:ext>
            </a:extLst>
          </p:cNvPr>
          <p:cNvSpPr>
            <a:spLocks noGrp="1" noChangeArrowheads="1"/>
          </p:cNvSpPr>
          <p:nvPr>
            <p:custDataLst>
              <p:tags r:id="rId42"/>
            </p:custDataLst>
          </p:nvPr>
        </p:nvSpPr>
        <p:spPr bwMode="auto">
          <a:xfrm>
            <a:off x="5157788" y="2374900"/>
            <a:ext cx="377825" cy="173038"/>
          </a:xfrm>
          <a:prstGeom prst="ellipse">
            <a:avLst/>
          </a:prstGeom>
          <a:solidFill>
            <a:srgbClr val="010A19"/>
          </a:solidFill>
          <a:ln w="9525" algn="ctr">
            <a:solidFill>
              <a:srgbClr val="00004B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85750" indent="-285750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●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76275" indent="-276225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2pPr>
            <a:lvl3pPr marL="1144588" indent="-287338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1619250" indent="-295275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4pPr>
            <a:lvl5pPr marL="2093913" indent="-295275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Char char="•"/>
              <a:defRPr sz="1800">
                <a:solidFill>
                  <a:schemeClr val="tx1"/>
                </a:solidFill>
                <a:latin typeface="+mn-lt"/>
              </a:defRPr>
            </a:lvl5pPr>
            <a:lvl6pPr marL="25511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30083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34655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9227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7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3DC78"/>
              </a:buClr>
              <a:buSzTx/>
              <a:buFont typeface="Arial" charset="0"/>
              <a:buNone/>
              <a:tabLst/>
              <a:defRPr/>
            </a:pPr>
            <a:fld id="{3117227E-D39D-4E72-860C-31513F307B02}" type="datetime'''-''''''''3'''',0''''''''''''''%'''''''''''''''''''''''">
              <a:rPr kumimoji="0" lang="en-US" altLang="en-US" sz="800" b="1" i="0" u="none" strike="noStrike" kern="0" cap="none" spc="0" normalizeH="0" baseline="0" noProof="0" smtClean="0">
                <a:ln>
                  <a:noFill/>
                </a:ln>
                <a:solidFill>
                  <a:srgbClr val="73DC7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572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DC78"/>
                </a:buClr>
                <a:buSzTx/>
                <a:buFont typeface="Arial" charset="0"/>
                <a:buNone/>
                <a:tabLst/>
                <a:defRPr/>
              </a:pPr>
              <a:t>-3,0%</a:t>
            </a:fld>
            <a:endParaRPr kumimoji="0" lang="en-US" altLang="en-US" sz="800" b="1" i="0" u="none" strike="noStrike" kern="0" cap="none" spc="0" normalizeH="0" baseline="0" noProof="0">
              <a:ln>
                <a:noFill/>
              </a:ln>
              <a:solidFill>
                <a:srgbClr val="73DC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1" name="Oval 68">
            <a:extLst>
              <a:ext uri="{FF2B5EF4-FFF2-40B4-BE49-F238E27FC236}">
                <a16:creationId xmlns:a16="http://schemas.microsoft.com/office/drawing/2014/main" id="{C6BE9C0E-1855-6F78-ECE0-2269A406E245}"/>
              </a:ext>
            </a:extLst>
          </p:cNvPr>
          <p:cNvSpPr>
            <a:spLocks noGrp="1" noChangeArrowheads="1"/>
          </p:cNvSpPr>
          <p:nvPr>
            <p:custDataLst>
              <p:tags r:id="rId43"/>
            </p:custDataLst>
          </p:nvPr>
        </p:nvSpPr>
        <p:spPr bwMode="auto">
          <a:xfrm>
            <a:off x="6665914" y="2422525"/>
            <a:ext cx="377825" cy="173038"/>
          </a:xfrm>
          <a:prstGeom prst="ellipse">
            <a:avLst/>
          </a:prstGeom>
          <a:solidFill>
            <a:srgbClr val="010A19"/>
          </a:solidFill>
          <a:ln w="9525" algn="ctr">
            <a:solidFill>
              <a:srgbClr val="00004B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85750" indent="-285750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●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76275" indent="-276225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2pPr>
            <a:lvl3pPr marL="1144588" indent="-287338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1619250" indent="-295275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4pPr>
            <a:lvl5pPr marL="2093913" indent="-295275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Char char="•"/>
              <a:defRPr sz="1800">
                <a:solidFill>
                  <a:schemeClr val="tx1"/>
                </a:solidFill>
                <a:latin typeface="+mn-lt"/>
              </a:defRPr>
            </a:lvl5pPr>
            <a:lvl6pPr marL="25511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30083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34655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9227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7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3DC78"/>
              </a:buClr>
              <a:buSzTx/>
              <a:buFont typeface="Arial" charset="0"/>
              <a:buNone/>
              <a:tabLst/>
              <a:defRPr/>
            </a:pPr>
            <a:fld id="{F3598799-0CAB-4EED-91B6-67EE71AAAD32}" type="datetime'''''''''''''-''''''''3'''',2''''''''''''%'''''''''''''''">
              <a:rPr kumimoji="0" lang="en-US" altLang="en-US" sz="800" b="1" i="0" u="none" strike="noStrike" kern="0" cap="none" spc="0" normalizeH="0" baseline="0" noProof="0" smtClean="0">
                <a:ln>
                  <a:noFill/>
                </a:ln>
                <a:solidFill>
                  <a:srgbClr val="73DC7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572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DC78"/>
                </a:buClr>
                <a:buSzTx/>
                <a:buFont typeface="Arial" charset="0"/>
                <a:buNone/>
                <a:tabLst/>
                <a:defRPr/>
              </a:pPr>
              <a:t>-3,2%</a:t>
            </a:fld>
            <a:endParaRPr kumimoji="0" lang="en-US" altLang="en-US" sz="800" b="1" i="0" u="none" strike="noStrike" kern="0" cap="none" spc="0" normalizeH="0" baseline="0" noProof="0">
              <a:ln>
                <a:noFill/>
              </a:ln>
              <a:solidFill>
                <a:srgbClr val="73DC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2" name="Text Placeholder 2">
            <a:extLst>
              <a:ext uri="{FF2B5EF4-FFF2-40B4-BE49-F238E27FC236}">
                <a16:creationId xmlns:a16="http://schemas.microsoft.com/office/drawing/2014/main" id="{2D1C9F90-EF38-7F69-05C4-1BED35700715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7419975" y="2408238"/>
            <a:ext cx="377825" cy="173038"/>
          </a:xfrm>
          <a:prstGeom prst="ellipse">
            <a:avLst/>
          </a:prstGeom>
          <a:solidFill>
            <a:srgbClr val="010A19"/>
          </a:solidFill>
          <a:ln w="9525" algn="ctr">
            <a:solidFill>
              <a:srgbClr val="00004B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850FA3F-D373-41F1-B161-AB828952AD03}" type="datetime'''-''''''''''''''''''''''''2'''''',''''''''5''%''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73DC7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-2,5%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73DC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3" name="Oval 70">
            <a:extLst>
              <a:ext uri="{FF2B5EF4-FFF2-40B4-BE49-F238E27FC236}">
                <a16:creationId xmlns:a16="http://schemas.microsoft.com/office/drawing/2014/main" id="{62BA0674-4E7A-CE62-A010-71D1D949C016}"/>
              </a:ext>
            </a:extLst>
          </p:cNvPr>
          <p:cNvSpPr>
            <a:spLocks noGrp="1" noChangeArrowheads="1"/>
          </p:cNvSpPr>
          <p:nvPr>
            <p:custDataLst>
              <p:tags r:id="rId45"/>
            </p:custDataLst>
          </p:nvPr>
        </p:nvSpPr>
        <p:spPr bwMode="auto">
          <a:xfrm>
            <a:off x="8175626" y="2420938"/>
            <a:ext cx="377825" cy="173038"/>
          </a:xfrm>
          <a:prstGeom prst="ellipse">
            <a:avLst/>
          </a:prstGeom>
          <a:solidFill>
            <a:srgbClr val="010A19"/>
          </a:solidFill>
          <a:ln w="9525" algn="ctr">
            <a:solidFill>
              <a:srgbClr val="00004B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85750" indent="-285750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●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76275" indent="-276225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2pPr>
            <a:lvl3pPr marL="1144588" indent="-287338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1619250" indent="-295275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4pPr>
            <a:lvl5pPr marL="2093913" indent="-295275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Char char="•"/>
              <a:defRPr sz="1800">
                <a:solidFill>
                  <a:schemeClr val="tx1"/>
                </a:solidFill>
                <a:latin typeface="+mn-lt"/>
              </a:defRPr>
            </a:lvl5pPr>
            <a:lvl6pPr marL="25511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30083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34655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9227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7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3DC78"/>
              </a:buClr>
              <a:buSzTx/>
              <a:buFont typeface="Arial" charset="0"/>
              <a:buNone/>
              <a:tabLst/>
              <a:defRPr/>
            </a:pPr>
            <a:fld id="{B5B75727-4A4A-4DA9-976F-CC4DA4A462F5}" type="datetime'''''''''''''''''-''''''''''4'',''''''''''''''''5''''''''''%'">
              <a:rPr kumimoji="0" lang="en-US" altLang="en-US" sz="800" b="1" i="0" u="none" strike="noStrike" kern="0" cap="none" spc="0" normalizeH="0" baseline="0" noProof="0" smtClean="0">
                <a:ln>
                  <a:noFill/>
                </a:ln>
                <a:solidFill>
                  <a:srgbClr val="73DC7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572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DC78"/>
                </a:buClr>
                <a:buSzTx/>
                <a:buFont typeface="Arial" charset="0"/>
                <a:buNone/>
                <a:tabLst/>
                <a:defRPr/>
              </a:pPr>
              <a:t>-4,5%</a:t>
            </a:fld>
            <a:endParaRPr kumimoji="0" lang="en-US" altLang="en-US" sz="800" b="1" i="0" u="none" strike="noStrike" kern="0" cap="none" spc="0" normalizeH="0" baseline="0" noProof="0">
              <a:ln>
                <a:noFill/>
              </a:ln>
              <a:solidFill>
                <a:srgbClr val="73DC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4" name="Google Shape;11;p28">
            <a:extLst>
              <a:ext uri="{FF2B5EF4-FFF2-40B4-BE49-F238E27FC236}">
                <a16:creationId xmlns:a16="http://schemas.microsoft.com/office/drawing/2014/main" id="{B730F9B2-99AE-B064-8C7F-F3AD3079CA93}"/>
              </a:ext>
            </a:extLst>
          </p:cNvPr>
          <p:cNvSpPr txBox="1"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8890000" y="2439988"/>
            <a:ext cx="458788" cy="173038"/>
          </a:xfrm>
          <a:prstGeom prst="ellipse">
            <a:avLst/>
          </a:prstGeom>
          <a:solidFill>
            <a:srgbClr val="010A19"/>
          </a:solidFill>
          <a:ln w="9525" cmpd="sng" algn="ctr">
            <a:solidFill>
              <a:srgbClr val="00004B"/>
            </a:solidFill>
          </a:ln>
          <a:effectLst/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4A65AE11-7AF6-49F5-A22A-2FAFDC98FBAB}" type="datetime'''''''-''''''''''1''''4,''''''''''''0''''''''''''''%'''''''''">
              <a:rPr kumimoji="0" lang="en-US" altLang="en-US" sz="800" b="1" i="0" u="none" strike="noStrike" kern="0" cap="none" spc="0" normalizeH="0" baseline="0" noProof="0" smtClean="0">
                <a:ln>
                  <a:noFill/>
                </a:ln>
                <a:solidFill>
                  <a:srgbClr val="73DC78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-14,0%</a:t>
            </a:fld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73DC78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35" name="Google Shape;11;p28">
            <a:extLst>
              <a:ext uri="{FF2B5EF4-FFF2-40B4-BE49-F238E27FC236}">
                <a16:creationId xmlns:a16="http://schemas.microsoft.com/office/drawing/2014/main" id="{E1BD1103-FB2B-8E6D-E0B4-B9E6833C7D92}"/>
              </a:ext>
            </a:extLst>
          </p:cNvPr>
          <p:cNvSpPr txBox="1"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11193464" y="1560513"/>
            <a:ext cx="377825" cy="173038"/>
          </a:xfrm>
          <a:prstGeom prst="ellipse">
            <a:avLst/>
          </a:prstGeom>
          <a:solidFill>
            <a:srgbClr val="010A19"/>
          </a:solidFill>
          <a:ln w="9525" algn="ctr">
            <a:solidFill>
              <a:srgbClr val="00004B"/>
            </a:solidFill>
          </a:ln>
          <a:effectLst/>
        </p:spPr>
        <p:txBody>
          <a:bodyPr spcFirstLastPara="1" vert="horz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3986D357-EBF9-4987-A9D0-C30FAE014059}" type="datetime'''''''''''-''''''1'''''',3''%'''''''''''''''">
              <a:rPr kumimoji="0" lang="en-US" altLang="en-US" sz="800" b="1" i="0" u="none" strike="noStrike" kern="0" cap="none" spc="0" normalizeH="0" baseline="0" noProof="0" smtClean="0">
                <a:ln>
                  <a:noFill/>
                </a:ln>
                <a:solidFill>
                  <a:srgbClr val="73DC78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-1,3%</a:t>
            </a:fld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73DC78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36" name="Rectangle 73">
            <a:extLst>
              <a:ext uri="{FF2B5EF4-FFF2-40B4-BE49-F238E27FC236}">
                <a16:creationId xmlns:a16="http://schemas.microsoft.com/office/drawing/2014/main" id="{64D502D1-E7DF-D179-013A-9D3FA6B3FFE1}"/>
              </a:ext>
            </a:extLst>
          </p:cNvPr>
          <p:cNvSpPr/>
          <p:nvPr/>
        </p:nvSpPr>
        <p:spPr bwMode="auto">
          <a:xfrm>
            <a:off x="2751369" y="1346202"/>
            <a:ext cx="1507297" cy="1781174"/>
          </a:xfrm>
          <a:prstGeom prst="rect">
            <a:avLst/>
          </a:prstGeom>
          <a:noFill/>
          <a:ln w="19050" cap="flat" cmpd="sng" algn="ctr">
            <a:solidFill>
              <a:srgbClr val="0087F1"/>
            </a:solidFill>
            <a:prstDash val="sysDot"/>
            <a:headEnd type="none" w="sm" len="sm"/>
            <a:tailEnd type="none" w="sm" len="sm"/>
          </a:ln>
          <a:effectLst/>
        </p:spPr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defTabSz="9572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F7800"/>
              </a:buClr>
              <a:buSzTx/>
              <a:buFont typeface="Arial" charset="0"/>
              <a:buChar char="●"/>
              <a:tabLst/>
              <a:defRPr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solidFill>
                <a:srgbClr val="62646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7" name="Title 1">
            <a:extLst>
              <a:ext uri="{FF2B5EF4-FFF2-40B4-BE49-F238E27FC236}">
                <a16:creationId xmlns:a16="http://schemas.microsoft.com/office/drawing/2014/main" id="{0652B9E1-FA8E-3270-01DA-E30B42EE111A}"/>
              </a:ext>
            </a:extLst>
          </p:cNvPr>
          <p:cNvSpPr txBox="1">
            <a:spLocks/>
          </p:cNvSpPr>
          <p:nvPr/>
        </p:nvSpPr>
        <p:spPr>
          <a:xfrm>
            <a:off x="432512" y="333070"/>
            <a:ext cx="11422938" cy="812800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600" b="1" i="1" u="none" strike="noStrike" kern="0" cap="none" spc="0" normalizeH="0" baseline="0" noProof="0" dirty="0">
              <a:ln>
                <a:noFill/>
              </a:ln>
              <a:solidFill>
                <a:srgbClr val="2000F5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grpSp>
        <p:nvGrpSpPr>
          <p:cNvPr id="238" name="Group 77">
            <a:extLst>
              <a:ext uri="{FF2B5EF4-FFF2-40B4-BE49-F238E27FC236}">
                <a16:creationId xmlns:a16="http://schemas.microsoft.com/office/drawing/2014/main" id="{C9447BD5-D4F8-5177-290D-0A169FB2DF00}"/>
              </a:ext>
            </a:extLst>
          </p:cNvPr>
          <p:cNvGrpSpPr/>
          <p:nvPr/>
        </p:nvGrpSpPr>
        <p:grpSpPr>
          <a:xfrm>
            <a:off x="3359176" y="1375189"/>
            <a:ext cx="283708" cy="274638"/>
            <a:chOff x="4251860" y="1995798"/>
            <a:chExt cx="509964" cy="509964"/>
          </a:xfrm>
        </p:grpSpPr>
        <p:sp>
          <p:nvSpPr>
            <p:cNvPr id="239" name="Oval 78">
              <a:extLst>
                <a:ext uri="{FF2B5EF4-FFF2-40B4-BE49-F238E27FC236}">
                  <a16:creationId xmlns:a16="http://schemas.microsoft.com/office/drawing/2014/main" id="{91E09654-718F-CF6B-0FE1-E2550884E4BD}"/>
                </a:ext>
              </a:extLst>
            </p:cNvPr>
            <p:cNvSpPr/>
            <p:nvPr/>
          </p:nvSpPr>
          <p:spPr>
            <a:xfrm>
              <a:off x="4251860" y="1995798"/>
              <a:ext cx="509964" cy="509964"/>
            </a:xfrm>
            <a:prstGeom prst="ellipse">
              <a:avLst/>
            </a:prstGeom>
            <a:solidFill>
              <a:srgbClr val="0087F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10A1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40" name="Graphic 79">
              <a:extLst>
                <a:ext uri="{FF2B5EF4-FFF2-40B4-BE49-F238E27FC236}">
                  <a16:creationId xmlns:a16="http://schemas.microsoft.com/office/drawing/2014/main" id="{53DF8C10-70DA-7E11-CCD6-0E0253EE2C5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5"/>
                </a:ext>
              </a:extLst>
            </a:blip>
            <a:stretch>
              <a:fillRect/>
            </a:stretch>
          </p:blipFill>
          <p:spPr>
            <a:xfrm>
              <a:off x="4388165" y="2121256"/>
              <a:ext cx="237353" cy="237353"/>
            </a:xfrm>
            <a:prstGeom prst="rect">
              <a:avLst/>
            </a:prstGeom>
          </p:spPr>
        </p:pic>
      </p:grpSp>
      <p:sp>
        <p:nvSpPr>
          <p:cNvPr id="241" name="TextBox 240">
            <a:extLst>
              <a:ext uri="{FF2B5EF4-FFF2-40B4-BE49-F238E27FC236}">
                <a16:creationId xmlns:a16="http://schemas.microsoft.com/office/drawing/2014/main" id="{AB6ED97F-2910-4DB2-6E1D-0ED60CC99C21}"/>
              </a:ext>
            </a:extLst>
          </p:cNvPr>
          <p:cNvSpPr txBox="1"/>
          <p:nvPr/>
        </p:nvSpPr>
        <p:spPr>
          <a:xfrm>
            <a:off x="424575" y="5999018"/>
            <a:ext cx="609946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1" u="none" strike="noStrike" kern="0" cap="none" spc="0" normalizeH="0" baseline="0" noProof="0" dirty="0">
                <a:ln>
                  <a:noFill/>
                </a:ln>
                <a:solidFill>
                  <a:srgbClr val="ABB6BA">
                    <a:lumMod val="50000"/>
                  </a:srgbClr>
                </a:solidFill>
                <a:effectLst/>
                <a:uLnTx/>
                <a:uFillTx/>
              </a:rPr>
              <a:t>NB: </a:t>
            </a:r>
            <a:r>
              <a:rPr kumimoji="0" lang="ru-RU" sz="800" b="0" i="1" u="none" strike="noStrike" kern="0" cap="none" spc="0" normalizeH="0" baseline="0" noProof="0" dirty="0">
                <a:ln>
                  <a:noFill/>
                </a:ln>
                <a:solidFill>
                  <a:srgbClr val="ABB6BA">
                    <a:lumMod val="50000"/>
                  </a:srgbClr>
                </a:solidFill>
                <a:effectLst/>
                <a:uLnTx/>
                <a:uFillTx/>
              </a:rPr>
              <a:t>максимальная выплата </a:t>
            </a:r>
            <a:r>
              <a:rPr kumimoji="0" lang="en-US" sz="800" b="0" i="1" u="none" strike="noStrike" kern="0" cap="none" spc="0" normalizeH="0" baseline="0" noProof="0" dirty="0">
                <a:ln>
                  <a:noFill/>
                </a:ln>
                <a:solidFill>
                  <a:srgbClr val="ABB6BA">
                    <a:lumMod val="50000"/>
                  </a:srgbClr>
                </a:solidFill>
                <a:effectLst/>
                <a:uLnTx/>
                <a:uFillTx/>
              </a:rPr>
              <a:t>15%    |   </a:t>
            </a:r>
            <a:r>
              <a:rPr kumimoji="0" lang="en-US" sz="800" b="0" i="1" u="none" strike="noStrike" kern="0" cap="none" spc="0" normalizeH="0" baseline="0" noProof="0" dirty="0">
                <a:ln>
                  <a:noFill/>
                </a:ln>
                <a:solidFill>
                  <a:srgbClr val="ABB6BA">
                    <a:lumMod val="50000"/>
                  </a:srgbClr>
                </a:solidFill>
                <a:effectLst/>
                <a:uLnTx/>
                <a:uFillTx/>
                <a:latin typeface="Roboto" panose="02000000000000000000" pitchFamily="2" charset="0"/>
                <a:ea typeface="Calibri" panose="020F0502020204030204" pitchFamily="34" charset="0"/>
                <a:cs typeface="Calibri" panose="020F0502020204030204" pitchFamily="34" charset="0"/>
              </a:rPr>
              <a:t>Copyright © 2023. All </a:t>
            </a:r>
            <a:r>
              <a:rPr kumimoji="0" lang="en-US" sz="800" b="0" i="1" u="none" strike="noStrike" kern="0" cap="none" spc="0" normalizeH="0" baseline="0" noProof="0" dirty="0">
                <a:ln>
                  <a:noFill/>
                </a:ln>
                <a:solidFill>
                  <a:srgbClr val="ABB6BA">
                    <a:lumMod val="50000"/>
                  </a:srgbClr>
                </a:solidFill>
                <a:effectLst/>
                <a:uLnTx/>
                <a:uFillTx/>
                <a:latin typeface="Roboto" panose="02000000000000000000" pitchFamily="2" charset="0"/>
                <a:ea typeface="Calibri" panose="020F0502020204030204" pitchFamily="34" charset="0"/>
                <a:hlinkClick r:id="rId11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rket data</a:t>
            </a:r>
            <a:r>
              <a:rPr kumimoji="0" lang="en-US" sz="800" b="0" i="1" u="none" strike="noStrike" kern="0" cap="none" spc="0" normalizeH="0" baseline="0" noProof="0" dirty="0">
                <a:ln>
                  <a:noFill/>
                </a:ln>
                <a:solidFill>
                  <a:srgbClr val="ABB6BA">
                    <a:lumMod val="50000"/>
                  </a:srgbClr>
                </a:solidFill>
                <a:effectLst/>
                <a:uLnTx/>
                <a:uFillTx/>
                <a:latin typeface="Roboto" panose="02000000000000000000" pitchFamily="2" charset="0"/>
                <a:ea typeface="Calibri" panose="020F0502020204030204" pitchFamily="34" charset="0"/>
                <a:cs typeface="Calibri" panose="020F0502020204030204" pitchFamily="34" charset="0"/>
              </a:rPr>
              <a:t> is </a:t>
            </a:r>
            <a:r>
              <a:rPr kumimoji="0" lang="en-US" sz="800" b="0" i="1" u="none" strike="noStrike" kern="0" cap="none" spc="0" normalizeH="0" baseline="0" noProof="0" dirty="0">
                <a:ln>
                  <a:noFill/>
                </a:ln>
                <a:solidFill>
                  <a:srgbClr val="ABB6BA">
                    <a:lumMod val="50000"/>
                  </a:srgbClr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provided</a:t>
            </a:r>
            <a:r>
              <a:rPr kumimoji="0" lang="en-US" sz="800" b="0" i="1" u="none" strike="noStrike" kern="0" cap="none" spc="0" normalizeH="0" baseline="0" noProof="0" dirty="0">
                <a:ln>
                  <a:noFill/>
                </a:ln>
                <a:solidFill>
                  <a:srgbClr val="ABB6BA">
                    <a:lumMod val="50000"/>
                  </a:srgbClr>
                </a:solidFill>
                <a:effectLst/>
                <a:uLnTx/>
                <a:uFillTx/>
                <a:latin typeface="Roboto" panose="02000000000000000000" pitchFamily="2" charset="0"/>
                <a:ea typeface="Calibri" panose="020F0502020204030204" pitchFamily="34" charset="0"/>
                <a:cs typeface="Calibri" panose="020F0502020204030204" pitchFamily="34" charset="0"/>
              </a:rPr>
              <a:t> by Barchart Solutions</a:t>
            </a:r>
            <a:endParaRPr kumimoji="0" lang="en-US" sz="800" b="0" i="1" u="none" strike="noStrike" kern="0" cap="none" spc="0" normalizeH="0" baseline="0" noProof="0" dirty="0">
              <a:ln>
                <a:noFill/>
              </a:ln>
              <a:solidFill>
                <a:srgbClr val="ABB6BA">
                  <a:lumMod val="50000"/>
                </a:srgbClr>
              </a:solidFill>
              <a:effectLst/>
              <a:uLnTx/>
              <a:uFillTx/>
            </a:endParaRPr>
          </a:p>
        </p:txBody>
      </p:sp>
      <p:pic>
        <p:nvPicPr>
          <p:cNvPr id="242" name="Picture 2" descr="Download CME Group Logo in SVG Vector or PNG File Format - Logo.wine">
            <a:extLst>
              <a:ext uri="{FF2B5EF4-FFF2-40B4-BE49-F238E27FC236}">
                <a16:creationId xmlns:a16="http://schemas.microsoft.com/office/drawing/2014/main" id="{31EDAF66-53A9-97E4-4F88-57A8E7CD615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72" t="35461" r="8041" b="38860"/>
          <a:stretch/>
        </p:blipFill>
        <p:spPr bwMode="auto">
          <a:xfrm>
            <a:off x="11065652" y="5993987"/>
            <a:ext cx="903321" cy="1881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3" name="Rectangle 88">
            <a:extLst>
              <a:ext uri="{FF2B5EF4-FFF2-40B4-BE49-F238E27FC236}">
                <a16:creationId xmlns:a16="http://schemas.microsoft.com/office/drawing/2014/main" id="{86D442AE-5F98-8988-0980-F0EAB59098B7}"/>
              </a:ext>
            </a:extLst>
          </p:cNvPr>
          <p:cNvSpPr/>
          <p:nvPr>
            <p:custDataLst>
              <p:tags r:id="rId48"/>
            </p:custDataLst>
          </p:nvPr>
        </p:nvSpPr>
        <p:spPr bwMode="auto">
          <a:xfrm>
            <a:off x="4538663" y="3333750"/>
            <a:ext cx="142875" cy="106363"/>
          </a:xfrm>
          <a:prstGeom prst="rect">
            <a:avLst/>
          </a:prstGeom>
          <a:solidFill>
            <a:srgbClr val="2000F5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4" name="Rectangle 89">
            <a:extLst>
              <a:ext uri="{FF2B5EF4-FFF2-40B4-BE49-F238E27FC236}">
                <a16:creationId xmlns:a16="http://schemas.microsoft.com/office/drawing/2014/main" id="{CBB241CA-CAB3-C925-A65F-8D43B70A5902}"/>
              </a:ext>
            </a:extLst>
          </p:cNvPr>
          <p:cNvSpPr/>
          <p:nvPr>
            <p:custDataLst>
              <p:tags r:id="rId49"/>
            </p:custDataLst>
          </p:nvPr>
        </p:nvSpPr>
        <p:spPr bwMode="auto">
          <a:xfrm>
            <a:off x="6913563" y="3333750"/>
            <a:ext cx="142875" cy="106363"/>
          </a:xfrm>
          <a:prstGeom prst="rect">
            <a:avLst/>
          </a:prstGeom>
          <a:solidFill>
            <a:srgbClr val="8CEF8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5" name="Text Placeholder 2">
            <a:extLst>
              <a:ext uri="{FF2B5EF4-FFF2-40B4-BE49-F238E27FC236}">
                <a16:creationId xmlns:a16="http://schemas.microsoft.com/office/drawing/2014/main" id="{50EE6211-F529-DCD9-49E5-DEA9F3A86ACE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4732338" y="3328988"/>
            <a:ext cx="207962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33D107C-0E87-44A7-A869-953CCAF4C0AD}" type="datetime'SPRING Price Fixatio''''n ''Aver''age ''22.01 -'' ''1''''5.03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SPRING Price Fixation Average 22.01 - 15.03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6" name="Text Placeholder 2">
            <a:extLst>
              <a:ext uri="{FF2B5EF4-FFF2-40B4-BE49-F238E27FC236}">
                <a16:creationId xmlns:a16="http://schemas.microsoft.com/office/drawing/2014/main" id="{E1A916B5-6EC7-DA7F-2A9E-4EE15856A6C8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7107238" y="3328988"/>
            <a:ext cx="1560513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24D1290-D7C3-4586-A50B-D344FED594AD}" type="datetime'Set''tl''em''ent''''  A''''ve''rage 18.''''0''3 - ''30''''.04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Settlement  Average 18.03 - 30.04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7" name="Rectangle 138">
            <a:extLst>
              <a:ext uri="{FF2B5EF4-FFF2-40B4-BE49-F238E27FC236}">
                <a16:creationId xmlns:a16="http://schemas.microsoft.com/office/drawing/2014/main" id="{CBC65C28-E0EF-E6D0-0D96-A4A85A0CD8DD}"/>
              </a:ext>
            </a:extLst>
          </p:cNvPr>
          <p:cNvSpPr/>
          <p:nvPr/>
        </p:nvSpPr>
        <p:spPr bwMode="auto">
          <a:xfrm>
            <a:off x="11038114" y="1346202"/>
            <a:ext cx="743593" cy="1781174"/>
          </a:xfrm>
          <a:prstGeom prst="rect">
            <a:avLst/>
          </a:prstGeom>
          <a:noFill/>
          <a:ln w="19050" cap="flat" cmpd="sng" algn="ctr">
            <a:solidFill>
              <a:srgbClr val="0087F1"/>
            </a:solidFill>
            <a:prstDash val="sysDot"/>
            <a:headEnd type="none" w="sm" len="sm"/>
            <a:tailEnd type="none" w="sm" len="sm"/>
          </a:ln>
          <a:effectLst/>
        </p:spPr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defTabSz="9572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F7800"/>
              </a:buClr>
              <a:buSzTx/>
              <a:buFont typeface="Arial" charset="0"/>
              <a:buChar char="●"/>
              <a:tabLst/>
              <a:defRPr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solidFill>
                <a:srgbClr val="62646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48" name="Group 139">
            <a:extLst>
              <a:ext uri="{FF2B5EF4-FFF2-40B4-BE49-F238E27FC236}">
                <a16:creationId xmlns:a16="http://schemas.microsoft.com/office/drawing/2014/main" id="{20CDCD4C-8448-536B-AA34-B0CD236C6263}"/>
              </a:ext>
            </a:extLst>
          </p:cNvPr>
          <p:cNvGrpSpPr/>
          <p:nvPr/>
        </p:nvGrpSpPr>
        <p:grpSpPr>
          <a:xfrm>
            <a:off x="11504859" y="1340152"/>
            <a:ext cx="283708" cy="274638"/>
            <a:chOff x="4251860" y="1995798"/>
            <a:chExt cx="509964" cy="509964"/>
          </a:xfrm>
        </p:grpSpPr>
        <p:sp>
          <p:nvSpPr>
            <p:cNvPr id="249" name="Oval 140">
              <a:extLst>
                <a:ext uri="{FF2B5EF4-FFF2-40B4-BE49-F238E27FC236}">
                  <a16:creationId xmlns:a16="http://schemas.microsoft.com/office/drawing/2014/main" id="{C10EBC9C-3709-C15F-A060-C47C6CC2F702}"/>
                </a:ext>
              </a:extLst>
            </p:cNvPr>
            <p:cNvSpPr/>
            <p:nvPr/>
          </p:nvSpPr>
          <p:spPr>
            <a:xfrm>
              <a:off x="4251860" y="1995798"/>
              <a:ext cx="509964" cy="509964"/>
            </a:xfrm>
            <a:prstGeom prst="ellipse">
              <a:avLst/>
            </a:prstGeom>
            <a:solidFill>
              <a:srgbClr val="0087F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10A1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50" name="Graphic 141">
              <a:extLst>
                <a:ext uri="{FF2B5EF4-FFF2-40B4-BE49-F238E27FC236}">
                  <a16:creationId xmlns:a16="http://schemas.microsoft.com/office/drawing/2014/main" id="{1D184815-8595-2CFA-6678-865C32CCF1C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5"/>
                </a:ext>
              </a:extLst>
            </a:blip>
            <a:stretch>
              <a:fillRect/>
            </a:stretch>
          </p:blipFill>
          <p:spPr>
            <a:xfrm>
              <a:off x="4388165" y="2121256"/>
              <a:ext cx="237353" cy="237353"/>
            </a:xfrm>
            <a:prstGeom prst="rect">
              <a:avLst/>
            </a:prstGeom>
          </p:spPr>
        </p:pic>
      </p:grpSp>
      <p:sp>
        <p:nvSpPr>
          <p:cNvPr id="251" name="Arrow: Chevron 171">
            <a:extLst>
              <a:ext uri="{FF2B5EF4-FFF2-40B4-BE49-F238E27FC236}">
                <a16:creationId xmlns:a16="http://schemas.microsoft.com/office/drawing/2014/main" id="{557ED0BC-EF82-B7F6-6902-4420DB4DBDA2}"/>
              </a:ext>
            </a:extLst>
          </p:cNvPr>
          <p:cNvSpPr/>
          <p:nvPr/>
        </p:nvSpPr>
        <p:spPr>
          <a:xfrm>
            <a:off x="153089" y="1322388"/>
            <a:ext cx="1330785" cy="2251075"/>
          </a:xfrm>
          <a:prstGeom prst="chevron">
            <a:avLst>
              <a:gd name="adj" fmla="val 0"/>
            </a:avLst>
          </a:prstGeom>
          <a:solidFill>
            <a:srgbClr val="73DC78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0" cap="none" spc="0" normalizeH="0" baseline="0" noProof="0" dirty="0">
                <a:ln>
                  <a:noFill/>
                </a:ln>
                <a:solidFill>
                  <a:srgbClr val="010A19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ЗоРРО Весна</a:t>
            </a: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010A19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1" u="none" strike="noStrike" kern="0" cap="none" spc="0" normalizeH="0" baseline="0" noProof="0" dirty="0">
                <a:ln>
                  <a:noFill/>
                </a:ln>
                <a:solidFill>
                  <a:srgbClr val="010A19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Майский фьючерс </a:t>
            </a:r>
            <a:endParaRPr kumimoji="0" lang="en-US" sz="1050" b="0" i="1" u="none" strike="noStrike" kern="0" cap="none" spc="0" normalizeH="0" baseline="0" noProof="0" dirty="0">
              <a:ln>
                <a:noFill/>
              </a:ln>
              <a:solidFill>
                <a:srgbClr val="010A19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010A19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pic>
        <p:nvPicPr>
          <p:cNvPr id="252" name="Graphic 147">
            <a:extLst>
              <a:ext uri="{FF2B5EF4-FFF2-40B4-BE49-F238E27FC236}">
                <a16:creationId xmlns:a16="http://schemas.microsoft.com/office/drawing/2014/main" id="{E83450DF-1D49-E7BE-3B77-9FC2A8CEACCC}"/>
              </a:ext>
            </a:extLst>
          </p:cNvPr>
          <p:cNvPicPr>
            <a:picLocks noChangeAspect="1"/>
          </p:cNvPicPr>
          <p:nvPr/>
        </p:nvPicPr>
        <p:blipFill>
          <a:blip r:embed="rId11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9"/>
              </a:ext>
            </a:extLst>
          </a:blip>
          <a:stretch>
            <a:fillRect/>
          </a:stretch>
        </p:blipFill>
        <p:spPr>
          <a:xfrm>
            <a:off x="11076523" y="643648"/>
            <a:ext cx="600239" cy="600239"/>
          </a:xfrm>
          <a:prstGeom prst="rect">
            <a:avLst/>
          </a:prstGeom>
        </p:spPr>
      </p:pic>
      <p:sp>
        <p:nvSpPr>
          <p:cNvPr id="253" name="Rectangle 217">
            <a:extLst>
              <a:ext uri="{FF2B5EF4-FFF2-40B4-BE49-F238E27FC236}">
                <a16:creationId xmlns:a16="http://schemas.microsoft.com/office/drawing/2014/main" id="{22E96B3A-6B14-8560-B522-CEA129D60660}"/>
              </a:ext>
            </a:extLst>
          </p:cNvPr>
          <p:cNvSpPr/>
          <p:nvPr/>
        </p:nvSpPr>
        <p:spPr>
          <a:xfrm>
            <a:off x="1484313" y="3684588"/>
            <a:ext cx="10448925" cy="2251075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10A1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54" name="Chart 375">
            <a:extLst>
              <a:ext uri="{FF2B5EF4-FFF2-40B4-BE49-F238E27FC236}">
                <a16:creationId xmlns:a16="http://schemas.microsoft.com/office/drawing/2014/main" id="{01831F9F-1F67-FBA3-7EAB-807104DE4312}"/>
              </a:ext>
            </a:extLst>
          </p:cNvPr>
          <p:cNvGraphicFramePr/>
          <p:nvPr>
            <p:custDataLst>
              <p:tags r:id="rId52"/>
            </p:custDataLst>
          </p:nvPr>
        </p:nvGraphicFramePr>
        <p:xfrm>
          <a:off x="1589088" y="3802063"/>
          <a:ext cx="10253662" cy="18653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0"/>
          </a:graphicData>
        </a:graphic>
      </p:graphicFrame>
      <p:cxnSp>
        <p:nvCxnSpPr>
          <p:cNvPr id="255" name="Straight Connector 337">
            <a:extLst>
              <a:ext uri="{FF2B5EF4-FFF2-40B4-BE49-F238E27FC236}">
                <a16:creationId xmlns:a16="http://schemas.microsoft.com/office/drawing/2014/main" id="{1398DD2B-A30E-62DC-E59C-C25BCC041359}"/>
              </a:ext>
            </a:extLst>
          </p:cNvPr>
          <p:cNvCxnSpPr/>
          <p:nvPr>
            <p:custDataLst>
              <p:tags r:id="rId53"/>
            </p:custDataLst>
          </p:nvPr>
        </p:nvCxnSpPr>
        <p:spPr bwMode="auto">
          <a:xfrm>
            <a:off x="2462213" y="4013200"/>
            <a:ext cx="0" cy="23971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256" name="Straight Connector 335">
            <a:extLst>
              <a:ext uri="{FF2B5EF4-FFF2-40B4-BE49-F238E27FC236}">
                <a16:creationId xmlns:a16="http://schemas.microsoft.com/office/drawing/2014/main" id="{75F0FCF8-C4F2-5504-8BAA-ACE9B0DFC667}"/>
              </a:ext>
            </a:extLst>
          </p:cNvPr>
          <p:cNvCxnSpPr/>
          <p:nvPr>
            <p:custDataLst>
              <p:tags r:id="rId54"/>
            </p:custDataLst>
          </p:nvPr>
        </p:nvCxnSpPr>
        <p:spPr bwMode="auto">
          <a:xfrm flipV="1">
            <a:off x="2192338" y="4013200"/>
            <a:ext cx="0" cy="184150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57" name="Straight Connector 336">
            <a:extLst>
              <a:ext uri="{FF2B5EF4-FFF2-40B4-BE49-F238E27FC236}">
                <a16:creationId xmlns:a16="http://schemas.microsoft.com/office/drawing/2014/main" id="{7CAE9328-4CFB-5974-F77B-C98CB1F497A4}"/>
              </a:ext>
            </a:extLst>
          </p:cNvPr>
          <p:cNvCxnSpPr/>
          <p:nvPr>
            <p:custDataLst>
              <p:tags r:id="rId55"/>
            </p:custDataLst>
          </p:nvPr>
        </p:nvCxnSpPr>
        <p:spPr bwMode="auto">
          <a:xfrm>
            <a:off x="2192339" y="4013200"/>
            <a:ext cx="269875" cy="0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58" name="Straight Connector 221">
            <a:extLst>
              <a:ext uri="{FF2B5EF4-FFF2-40B4-BE49-F238E27FC236}">
                <a16:creationId xmlns:a16="http://schemas.microsoft.com/office/drawing/2014/main" id="{8513355E-789F-9705-A7E5-0BDCDE4256B8}"/>
              </a:ext>
            </a:extLst>
          </p:cNvPr>
          <p:cNvCxnSpPr/>
          <p:nvPr>
            <p:custDataLst>
              <p:tags r:id="rId56"/>
            </p:custDataLst>
          </p:nvPr>
        </p:nvCxnSpPr>
        <p:spPr bwMode="auto">
          <a:xfrm>
            <a:off x="3971925" y="4481513"/>
            <a:ext cx="0" cy="37941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</p:cxnSp>
      <p:cxnSp>
        <p:nvCxnSpPr>
          <p:cNvPr id="259" name="Straight Connector 219">
            <a:extLst>
              <a:ext uri="{FF2B5EF4-FFF2-40B4-BE49-F238E27FC236}">
                <a16:creationId xmlns:a16="http://schemas.microsoft.com/office/drawing/2014/main" id="{9B01FB1D-CE55-8533-DFCC-FDFC00155CE1}"/>
              </a:ext>
            </a:extLst>
          </p:cNvPr>
          <p:cNvCxnSpPr/>
          <p:nvPr>
            <p:custDataLst>
              <p:tags r:id="rId57"/>
            </p:custDataLst>
          </p:nvPr>
        </p:nvCxnSpPr>
        <p:spPr bwMode="auto">
          <a:xfrm>
            <a:off x="3702050" y="4481513"/>
            <a:ext cx="269875" cy="0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260" name="Straight Connector 220">
            <a:extLst>
              <a:ext uri="{FF2B5EF4-FFF2-40B4-BE49-F238E27FC236}">
                <a16:creationId xmlns:a16="http://schemas.microsoft.com/office/drawing/2014/main" id="{295388EE-FCD3-CB48-73C9-5FB963B88A90}"/>
              </a:ext>
            </a:extLst>
          </p:cNvPr>
          <p:cNvCxnSpPr/>
          <p:nvPr>
            <p:custDataLst>
              <p:tags r:id="rId58"/>
            </p:custDataLst>
          </p:nvPr>
        </p:nvCxnSpPr>
        <p:spPr bwMode="auto">
          <a:xfrm flipV="1">
            <a:off x="3702050" y="4481513"/>
            <a:ext cx="0" cy="16351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261" name="Straight Connector 222">
            <a:extLst>
              <a:ext uri="{FF2B5EF4-FFF2-40B4-BE49-F238E27FC236}">
                <a16:creationId xmlns:a16="http://schemas.microsoft.com/office/drawing/2014/main" id="{0F25FC2F-C568-630E-F998-DB52014ABDCD}"/>
              </a:ext>
            </a:extLst>
          </p:cNvPr>
          <p:cNvCxnSpPr/>
          <p:nvPr>
            <p:custDataLst>
              <p:tags r:id="rId59"/>
            </p:custDataLst>
          </p:nvPr>
        </p:nvCxnSpPr>
        <p:spPr bwMode="auto">
          <a:xfrm flipV="1">
            <a:off x="4456113" y="4762500"/>
            <a:ext cx="0" cy="16351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262" name="Straight Connector 223">
            <a:extLst>
              <a:ext uri="{FF2B5EF4-FFF2-40B4-BE49-F238E27FC236}">
                <a16:creationId xmlns:a16="http://schemas.microsoft.com/office/drawing/2014/main" id="{0369786E-3360-3D91-7B83-3FDE135C589E}"/>
              </a:ext>
            </a:extLst>
          </p:cNvPr>
          <p:cNvCxnSpPr/>
          <p:nvPr>
            <p:custDataLst>
              <p:tags r:id="rId60"/>
            </p:custDataLst>
          </p:nvPr>
        </p:nvCxnSpPr>
        <p:spPr bwMode="auto">
          <a:xfrm>
            <a:off x="4456113" y="4762500"/>
            <a:ext cx="269875" cy="0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263" name="Straight Connector 224">
            <a:extLst>
              <a:ext uri="{FF2B5EF4-FFF2-40B4-BE49-F238E27FC236}">
                <a16:creationId xmlns:a16="http://schemas.microsoft.com/office/drawing/2014/main" id="{E4AC89DD-DB8B-16F5-AFC3-61B675405F60}"/>
              </a:ext>
            </a:extLst>
          </p:cNvPr>
          <p:cNvCxnSpPr/>
          <p:nvPr>
            <p:custDataLst>
              <p:tags r:id="rId61"/>
            </p:custDataLst>
          </p:nvPr>
        </p:nvCxnSpPr>
        <p:spPr bwMode="auto">
          <a:xfrm>
            <a:off x="4725988" y="4762500"/>
            <a:ext cx="0" cy="40481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</p:cxnSp>
      <p:cxnSp>
        <p:nvCxnSpPr>
          <p:cNvPr id="264" name="Straight Connector 225">
            <a:extLst>
              <a:ext uri="{FF2B5EF4-FFF2-40B4-BE49-F238E27FC236}">
                <a16:creationId xmlns:a16="http://schemas.microsoft.com/office/drawing/2014/main" id="{479B21F5-8B1B-8FE1-50A9-3AE5900EA929}"/>
              </a:ext>
            </a:extLst>
          </p:cNvPr>
          <p:cNvCxnSpPr/>
          <p:nvPr>
            <p:custDataLst>
              <p:tags r:id="rId62"/>
            </p:custDataLst>
          </p:nvPr>
        </p:nvCxnSpPr>
        <p:spPr bwMode="auto">
          <a:xfrm>
            <a:off x="5481638" y="4805363"/>
            <a:ext cx="0" cy="23971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sm" len="sm"/>
            <a:tailEnd type="triangle" w="med" len="med"/>
          </a:ln>
          <a:effectLst/>
        </p:spPr>
      </p:cxnSp>
      <p:cxnSp>
        <p:nvCxnSpPr>
          <p:cNvPr id="265" name="Straight Connector 227">
            <a:extLst>
              <a:ext uri="{FF2B5EF4-FFF2-40B4-BE49-F238E27FC236}">
                <a16:creationId xmlns:a16="http://schemas.microsoft.com/office/drawing/2014/main" id="{08E424E7-AA66-1A98-7738-C7F61D1E7078}"/>
              </a:ext>
            </a:extLst>
          </p:cNvPr>
          <p:cNvCxnSpPr/>
          <p:nvPr>
            <p:custDataLst>
              <p:tags r:id="rId63"/>
            </p:custDataLst>
          </p:nvPr>
        </p:nvCxnSpPr>
        <p:spPr bwMode="auto">
          <a:xfrm flipV="1">
            <a:off x="5211763" y="4805363"/>
            <a:ext cx="0" cy="20796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266" name="Straight Connector 226">
            <a:extLst>
              <a:ext uri="{FF2B5EF4-FFF2-40B4-BE49-F238E27FC236}">
                <a16:creationId xmlns:a16="http://schemas.microsoft.com/office/drawing/2014/main" id="{A811C63C-60B7-1131-742B-D36B03F27605}"/>
              </a:ext>
            </a:extLst>
          </p:cNvPr>
          <p:cNvCxnSpPr/>
          <p:nvPr>
            <p:custDataLst>
              <p:tags r:id="rId64"/>
            </p:custDataLst>
          </p:nvPr>
        </p:nvCxnSpPr>
        <p:spPr bwMode="auto">
          <a:xfrm>
            <a:off x="5211763" y="4805363"/>
            <a:ext cx="269875" cy="0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267" name="Straight Connector 230">
            <a:extLst>
              <a:ext uri="{FF2B5EF4-FFF2-40B4-BE49-F238E27FC236}">
                <a16:creationId xmlns:a16="http://schemas.microsoft.com/office/drawing/2014/main" id="{F9F249D7-7CED-FC45-3F96-BEAB2AD40DA2}"/>
              </a:ext>
            </a:extLst>
          </p:cNvPr>
          <p:cNvCxnSpPr/>
          <p:nvPr>
            <p:custDataLst>
              <p:tags r:id="rId65"/>
            </p:custDataLst>
          </p:nvPr>
        </p:nvCxnSpPr>
        <p:spPr bwMode="auto">
          <a:xfrm flipV="1">
            <a:off x="5965825" y="4879975"/>
            <a:ext cx="0" cy="16351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268" name="Straight Connector 228">
            <a:extLst>
              <a:ext uri="{FF2B5EF4-FFF2-40B4-BE49-F238E27FC236}">
                <a16:creationId xmlns:a16="http://schemas.microsoft.com/office/drawing/2014/main" id="{6A4682BC-EBC3-C09D-FF28-545056AD2602}"/>
              </a:ext>
            </a:extLst>
          </p:cNvPr>
          <p:cNvCxnSpPr/>
          <p:nvPr>
            <p:custDataLst>
              <p:tags r:id="rId66"/>
            </p:custDataLst>
          </p:nvPr>
        </p:nvCxnSpPr>
        <p:spPr bwMode="auto">
          <a:xfrm>
            <a:off x="5965825" y="4879975"/>
            <a:ext cx="269875" cy="0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269" name="Straight Connector 229">
            <a:extLst>
              <a:ext uri="{FF2B5EF4-FFF2-40B4-BE49-F238E27FC236}">
                <a16:creationId xmlns:a16="http://schemas.microsoft.com/office/drawing/2014/main" id="{B9BDD8EB-B982-DEE8-BF8A-7ECB9CE7EE12}"/>
              </a:ext>
            </a:extLst>
          </p:cNvPr>
          <p:cNvCxnSpPr/>
          <p:nvPr>
            <p:custDataLst>
              <p:tags r:id="rId67"/>
            </p:custDataLst>
          </p:nvPr>
        </p:nvCxnSpPr>
        <p:spPr bwMode="auto">
          <a:xfrm>
            <a:off x="6235700" y="4879975"/>
            <a:ext cx="0" cy="287338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</p:cxnSp>
      <p:cxnSp>
        <p:nvCxnSpPr>
          <p:cNvPr id="270" name="Straight Connector 231">
            <a:extLst>
              <a:ext uri="{FF2B5EF4-FFF2-40B4-BE49-F238E27FC236}">
                <a16:creationId xmlns:a16="http://schemas.microsoft.com/office/drawing/2014/main" id="{376016E3-D161-AB19-B609-843940822DA7}"/>
              </a:ext>
            </a:extLst>
          </p:cNvPr>
          <p:cNvCxnSpPr/>
          <p:nvPr>
            <p:custDataLst>
              <p:tags r:id="rId68"/>
            </p:custDataLst>
          </p:nvPr>
        </p:nvCxnSpPr>
        <p:spPr bwMode="auto">
          <a:xfrm>
            <a:off x="6719888" y="4860925"/>
            <a:ext cx="269875" cy="0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271" name="Straight Connector 232">
            <a:extLst>
              <a:ext uri="{FF2B5EF4-FFF2-40B4-BE49-F238E27FC236}">
                <a16:creationId xmlns:a16="http://schemas.microsoft.com/office/drawing/2014/main" id="{8E166E71-B89D-F6BF-1EF6-9C20FC56E8B5}"/>
              </a:ext>
            </a:extLst>
          </p:cNvPr>
          <p:cNvCxnSpPr/>
          <p:nvPr>
            <p:custDataLst>
              <p:tags r:id="rId69"/>
            </p:custDataLst>
          </p:nvPr>
        </p:nvCxnSpPr>
        <p:spPr bwMode="auto">
          <a:xfrm>
            <a:off x="6989763" y="4860925"/>
            <a:ext cx="0" cy="28416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sm" len="sm"/>
            <a:tailEnd type="triangle" w="med" len="med"/>
          </a:ln>
          <a:effectLst/>
        </p:spPr>
      </p:cxnSp>
      <p:cxnSp>
        <p:nvCxnSpPr>
          <p:cNvPr id="272" name="Straight Connector 233">
            <a:extLst>
              <a:ext uri="{FF2B5EF4-FFF2-40B4-BE49-F238E27FC236}">
                <a16:creationId xmlns:a16="http://schemas.microsoft.com/office/drawing/2014/main" id="{B0F4ED47-347C-8CCA-FF85-BCB0BAC3ED27}"/>
              </a:ext>
            </a:extLst>
          </p:cNvPr>
          <p:cNvCxnSpPr/>
          <p:nvPr>
            <p:custDataLst>
              <p:tags r:id="rId70"/>
            </p:custDataLst>
          </p:nvPr>
        </p:nvCxnSpPr>
        <p:spPr bwMode="auto">
          <a:xfrm flipV="1">
            <a:off x="6719888" y="4860925"/>
            <a:ext cx="0" cy="16351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273" name="Straight Connector 234">
            <a:extLst>
              <a:ext uri="{FF2B5EF4-FFF2-40B4-BE49-F238E27FC236}">
                <a16:creationId xmlns:a16="http://schemas.microsoft.com/office/drawing/2014/main" id="{D59037A9-0224-8267-4253-62B070A93984}"/>
              </a:ext>
            </a:extLst>
          </p:cNvPr>
          <p:cNvCxnSpPr/>
          <p:nvPr>
            <p:custDataLst>
              <p:tags r:id="rId71"/>
            </p:custDataLst>
          </p:nvPr>
        </p:nvCxnSpPr>
        <p:spPr bwMode="auto">
          <a:xfrm>
            <a:off x="7743825" y="4867275"/>
            <a:ext cx="0" cy="23971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</p:cxnSp>
      <p:cxnSp>
        <p:nvCxnSpPr>
          <p:cNvPr id="274" name="Straight Connector 236">
            <a:extLst>
              <a:ext uri="{FF2B5EF4-FFF2-40B4-BE49-F238E27FC236}">
                <a16:creationId xmlns:a16="http://schemas.microsoft.com/office/drawing/2014/main" id="{9B4D38E8-432C-067C-CDAF-61349497667B}"/>
              </a:ext>
            </a:extLst>
          </p:cNvPr>
          <p:cNvCxnSpPr/>
          <p:nvPr>
            <p:custDataLst>
              <p:tags r:id="rId72"/>
            </p:custDataLst>
          </p:nvPr>
        </p:nvCxnSpPr>
        <p:spPr bwMode="auto">
          <a:xfrm>
            <a:off x="7473950" y="4867275"/>
            <a:ext cx="269875" cy="0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275" name="Straight Connector 235">
            <a:extLst>
              <a:ext uri="{FF2B5EF4-FFF2-40B4-BE49-F238E27FC236}">
                <a16:creationId xmlns:a16="http://schemas.microsoft.com/office/drawing/2014/main" id="{0B9351DF-5943-3345-5DBD-FAA205F4FA50}"/>
              </a:ext>
            </a:extLst>
          </p:cNvPr>
          <p:cNvCxnSpPr/>
          <p:nvPr>
            <p:custDataLst>
              <p:tags r:id="rId73"/>
            </p:custDataLst>
          </p:nvPr>
        </p:nvCxnSpPr>
        <p:spPr bwMode="auto">
          <a:xfrm flipV="1">
            <a:off x="7473950" y="4867274"/>
            <a:ext cx="0" cy="171450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276" name="Straight Connector 237">
            <a:extLst>
              <a:ext uri="{FF2B5EF4-FFF2-40B4-BE49-F238E27FC236}">
                <a16:creationId xmlns:a16="http://schemas.microsoft.com/office/drawing/2014/main" id="{36963007-19C3-E74C-05F7-5B85B07B6F4F}"/>
              </a:ext>
            </a:extLst>
          </p:cNvPr>
          <p:cNvCxnSpPr/>
          <p:nvPr>
            <p:custDataLst>
              <p:tags r:id="rId74"/>
            </p:custDataLst>
          </p:nvPr>
        </p:nvCxnSpPr>
        <p:spPr bwMode="auto">
          <a:xfrm flipV="1">
            <a:off x="8229600" y="4738688"/>
            <a:ext cx="0" cy="16351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277" name="Straight Connector 238">
            <a:extLst>
              <a:ext uri="{FF2B5EF4-FFF2-40B4-BE49-F238E27FC236}">
                <a16:creationId xmlns:a16="http://schemas.microsoft.com/office/drawing/2014/main" id="{80DF9146-CF91-6D02-5FF1-908D871DC01C}"/>
              </a:ext>
            </a:extLst>
          </p:cNvPr>
          <p:cNvCxnSpPr/>
          <p:nvPr>
            <p:custDataLst>
              <p:tags r:id="rId75"/>
            </p:custDataLst>
          </p:nvPr>
        </p:nvCxnSpPr>
        <p:spPr bwMode="auto">
          <a:xfrm>
            <a:off x="8229600" y="4738688"/>
            <a:ext cx="269875" cy="0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278" name="Straight Connector 239">
            <a:extLst>
              <a:ext uri="{FF2B5EF4-FFF2-40B4-BE49-F238E27FC236}">
                <a16:creationId xmlns:a16="http://schemas.microsoft.com/office/drawing/2014/main" id="{A3FC7874-68AE-EC1A-7C74-6AAA917673DA}"/>
              </a:ext>
            </a:extLst>
          </p:cNvPr>
          <p:cNvCxnSpPr/>
          <p:nvPr>
            <p:custDataLst>
              <p:tags r:id="rId76"/>
            </p:custDataLst>
          </p:nvPr>
        </p:nvCxnSpPr>
        <p:spPr bwMode="auto">
          <a:xfrm>
            <a:off x="8499475" y="4738688"/>
            <a:ext cx="0" cy="30956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sm" len="sm"/>
            <a:tailEnd type="triangle" w="med" len="med"/>
          </a:ln>
          <a:effectLst/>
        </p:spPr>
      </p:cxnSp>
      <p:cxnSp>
        <p:nvCxnSpPr>
          <p:cNvPr id="279" name="Straight Connector 345">
            <a:extLst>
              <a:ext uri="{FF2B5EF4-FFF2-40B4-BE49-F238E27FC236}">
                <a16:creationId xmlns:a16="http://schemas.microsoft.com/office/drawing/2014/main" id="{54AAF975-5DC4-DCBF-D18B-2AFBF59DADE7}"/>
              </a:ext>
            </a:extLst>
          </p:cNvPr>
          <p:cNvCxnSpPr/>
          <p:nvPr>
            <p:custDataLst>
              <p:tags r:id="rId77"/>
            </p:custDataLst>
          </p:nvPr>
        </p:nvCxnSpPr>
        <p:spPr bwMode="auto">
          <a:xfrm flipV="1">
            <a:off x="9737725" y="4359275"/>
            <a:ext cx="0" cy="171450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0" name="Straight Connector 346">
            <a:extLst>
              <a:ext uri="{FF2B5EF4-FFF2-40B4-BE49-F238E27FC236}">
                <a16:creationId xmlns:a16="http://schemas.microsoft.com/office/drawing/2014/main" id="{655CBA67-BF82-08F4-2460-491F4B5A5BE4}"/>
              </a:ext>
            </a:extLst>
          </p:cNvPr>
          <p:cNvCxnSpPr/>
          <p:nvPr>
            <p:custDataLst>
              <p:tags r:id="rId78"/>
            </p:custDataLst>
          </p:nvPr>
        </p:nvCxnSpPr>
        <p:spPr bwMode="auto">
          <a:xfrm>
            <a:off x="9737726" y="4359275"/>
            <a:ext cx="269875" cy="0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1" name="Straight Connector 347">
            <a:extLst>
              <a:ext uri="{FF2B5EF4-FFF2-40B4-BE49-F238E27FC236}">
                <a16:creationId xmlns:a16="http://schemas.microsoft.com/office/drawing/2014/main" id="{BCFE2C3B-1932-D71C-D9E4-7B00FF4EAC49}"/>
              </a:ext>
            </a:extLst>
          </p:cNvPr>
          <p:cNvCxnSpPr/>
          <p:nvPr>
            <p:custDataLst>
              <p:tags r:id="rId79"/>
            </p:custDataLst>
          </p:nvPr>
        </p:nvCxnSpPr>
        <p:spPr bwMode="auto">
          <a:xfrm>
            <a:off x="10007600" y="4359275"/>
            <a:ext cx="0" cy="23971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282" name="Straight Connector 240">
            <a:extLst>
              <a:ext uri="{FF2B5EF4-FFF2-40B4-BE49-F238E27FC236}">
                <a16:creationId xmlns:a16="http://schemas.microsoft.com/office/drawing/2014/main" id="{DEF3EDA2-80BD-70B6-0BBA-558F573C904B}"/>
              </a:ext>
            </a:extLst>
          </p:cNvPr>
          <p:cNvCxnSpPr/>
          <p:nvPr>
            <p:custDataLst>
              <p:tags r:id="rId80"/>
            </p:custDataLst>
          </p:nvPr>
        </p:nvCxnSpPr>
        <p:spPr bwMode="auto">
          <a:xfrm flipV="1">
            <a:off x="11247438" y="4443413"/>
            <a:ext cx="0" cy="163513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3" name="Straight Connector 241">
            <a:extLst>
              <a:ext uri="{FF2B5EF4-FFF2-40B4-BE49-F238E27FC236}">
                <a16:creationId xmlns:a16="http://schemas.microsoft.com/office/drawing/2014/main" id="{3FE51DA1-3FF6-CF63-68C6-8A82A8A95B49}"/>
              </a:ext>
            </a:extLst>
          </p:cNvPr>
          <p:cNvCxnSpPr>
            <a:cxnSpLocks/>
          </p:cNvCxnSpPr>
          <p:nvPr>
            <p:custDataLst>
              <p:tags r:id="rId81"/>
            </p:custDataLst>
          </p:nvPr>
        </p:nvCxnSpPr>
        <p:spPr bwMode="auto">
          <a:xfrm>
            <a:off x="11247438" y="4443413"/>
            <a:ext cx="269875" cy="0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4" name="Straight Connector 242">
            <a:extLst>
              <a:ext uri="{FF2B5EF4-FFF2-40B4-BE49-F238E27FC236}">
                <a16:creationId xmlns:a16="http://schemas.microsoft.com/office/drawing/2014/main" id="{D7761A88-5C93-8E5D-D638-CD4F2F4FE39E}"/>
              </a:ext>
            </a:extLst>
          </p:cNvPr>
          <p:cNvCxnSpPr/>
          <p:nvPr>
            <p:custDataLst>
              <p:tags r:id="rId82"/>
            </p:custDataLst>
          </p:nvPr>
        </p:nvCxnSpPr>
        <p:spPr bwMode="auto">
          <a:xfrm>
            <a:off x="11517313" y="4443413"/>
            <a:ext cx="0" cy="300038"/>
          </a:xfrm>
          <a:prstGeom prst="line">
            <a:avLst/>
          </a:prstGeom>
          <a:noFill/>
          <a:ln w="12700" cap="flat" cmpd="sng" algn="ctr">
            <a:solidFill>
              <a:srgbClr val="00004B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285" name="Text Placeholder 2">
            <a:extLst>
              <a:ext uri="{FF2B5EF4-FFF2-40B4-BE49-F238E27FC236}">
                <a16:creationId xmlns:a16="http://schemas.microsoft.com/office/drawing/2014/main" id="{3A6EB4C6-5E4C-1FC2-8B5F-AC70DDE2C8EB}"/>
              </a:ext>
            </a:extLst>
          </p:cNvPr>
          <p:cNvSpPr>
            <a:spLocks noGrp="1"/>
          </p:cNvSpPr>
          <p:nvPr>
            <p:custDataLst>
              <p:tags r:id="rId83"/>
            </p:custDataLst>
          </p:nvPr>
        </p:nvSpPr>
        <p:spPr bwMode="auto">
          <a:xfrm>
            <a:off x="11220450" y="5514975"/>
            <a:ext cx="3238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A22A755-3324-4DB6-B064-0F28FAAF620B}" type="datetime'''''''''''''''''''''ZCZ''''2''''''''''''''3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ZCZ23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6" name="Text Placeholder 2">
            <a:extLst>
              <a:ext uri="{FF2B5EF4-FFF2-40B4-BE49-F238E27FC236}">
                <a16:creationId xmlns:a16="http://schemas.microsoft.com/office/drawing/2014/main" id="{9B427BAD-F1CA-0FE4-3EA5-60F741B995A2}"/>
              </a:ext>
            </a:extLst>
          </p:cNvPr>
          <p:cNvSpPr>
            <a:spLocks noGrp="1"/>
          </p:cNvSpPr>
          <p:nvPr>
            <p:custDataLst>
              <p:tags r:id="rId84"/>
            </p:custDataLst>
          </p:nvPr>
        </p:nvSpPr>
        <p:spPr bwMode="auto">
          <a:xfrm>
            <a:off x="5184775" y="5514975"/>
            <a:ext cx="3238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AB91AB9-D1EC-4E9F-B168-5D70CC7D4798}" type="datetime'''Z''''''C''''''''Z1''''''''''''''''''''''''''''''''''5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ZCZ15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7" name="Text Placeholder 2">
            <a:extLst>
              <a:ext uri="{FF2B5EF4-FFF2-40B4-BE49-F238E27FC236}">
                <a16:creationId xmlns:a16="http://schemas.microsoft.com/office/drawing/2014/main" id="{20DC95D1-38DC-4E40-7E7C-1A3F69D0DBDF}"/>
              </a:ext>
            </a:extLst>
          </p:cNvPr>
          <p:cNvSpPr>
            <a:spLocks noGrp="1"/>
          </p:cNvSpPr>
          <p:nvPr>
            <p:custDataLst>
              <p:tags r:id="rId85"/>
            </p:custDataLst>
          </p:nvPr>
        </p:nvSpPr>
        <p:spPr bwMode="auto">
          <a:xfrm>
            <a:off x="1624013" y="3733800"/>
            <a:ext cx="6540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Центы </a:t>
            </a: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 </a:t>
            </a:r>
            <a:r>
              <a:rPr kumimoji="0" lang="ru-RU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бушель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8" name="Text Placeholder 2">
            <a:extLst>
              <a:ext uri="{FF2B5EF4-FFF2-40B4-BE49-F238E27FC236}">
                <a16:creationId xmlns:a16="http://schemas.microsoft.com/office/drawing/2014/main" id="{7BB59425-A1F7-A8F1-0A02-DDC6F851C5BE}"/>
              </a:ext>
            </a:extLst>
          </p:cNvPr>
          <p:cNvSpPr>
            <a:spLocks noGrp="1"/>
          </p:cNvSpPr>
          <p:nvPr>
            <p:custDataLst>
              <p:tags r:id="rId86"/>
            </p:custDataLst>
          </p:nvPr>
        </p:nvSpPr>
        <p:spPr bwMode="auto">
          <a:xfrm>
            <a:off x="2165350" y="5514975"/>
            <a:ext cx="3238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775A3CA-FE12-4F05-B37E-388D7BC2E622}" type="datetime'Z''''''''''''''''''''''''''''C''''''''''Z''''''1''''''1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ZCZ11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9" name="Text Placeholder 2">
            <a:extLst>
              <a:ext uri="{FF2B5EF4-FFF2-40B4-BE49-F238E27FC236}">
                <a16:creationId xmlns:a16="http://schemas.microsoft.com/office/drawing/2014/main" id="{EA794D5D-979B-B693-A651-4E9A9FC83DAB}"/>
              </a:ext>
            </a:extLst>
          </p:cNvPr>
          <p:cNvSpPr>
            <a:spLocks noGrp="1"/>
          </p:cNvSpPr>
          <p:nvPr>
            <p:custDataLst>
              <p:tags r:id="rId87"/>
            </p:custDataLst>
          </p:nvPr>
        </p:nvSpPr>
        <p:spPr bwMode="auto">
          <a:xfrm>
            <a:off x="2921000" y="5514975"/>
            <a:ext cx="3238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AE33F59-403B-4CA3-BC3E-7A813D6B1226}" type="datetime'''''''''Z''C''''Z1''''''''''''''''2''''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ZCZ12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0" name="Text Placeholder 2">
            <a:extLst>
              <a:ext uri="{FF2B5EF4-FFF2-40B4-BE49-F238E27FC236}">
                <a16:creationId xmlns:a16="http://schemas.microsoft.com/office/drawing/2014/main" id="{FA611DD6-23FC-ABCB-71DE-E5C1411BF9E6}"/>
              </a:ext>
            </a:extLst>
          </p:cNvPr>
          <p:cNvSpPr>
            <a:spLocks noGrp="1"/>
          </p:cNvSpPr>
          <p:nvPr>
            <p:custDataLst>
              <p:tags r:id="rId88"/>
            </p:custDataLst>
          </p:nvPr>
        </p:nvSpPr>
        <p:spPr bwMode="auto">
          <a:xfrm>
            <a:off x="3675063" y="5514975"/>
            <a:ext cx="3238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B8C2F3B-34EF-4E8F-8DE5-0250AE1F0B77}" type="datetime'''Z''''CZ''''''''1''''3''''''''''''''''''''''''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ZCZ13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1" name="Text Placeholder 2">
            <a:extLst>
              <a:ext uri="{FF2B5EF4-FFF2-40B4-BE49-F238E27FC236}">
                <a16:creationId xmlns:a16="http://schemas.microsoft.com/office/drawing/2014/main" id="{897B9372-E050-1782-BA8E-E2A53BB92E86}"/>
              </a:ext>
            </a:extLst>
          </p:cNvPr>
          <p:cNvSpPr>
            <a:spLocks noGrp="1"/>
          </p:cNvSpPr>
          <p:nvPr>
            <p:custDataLst>
              <p:tags r:id="rId89"/>
            </p:custDataLst>
          </p:nvPr>
        </p:nvSpPr>
        <p:spPr bwMode="auto">
          <a:xfrm>
            <a:off x="4429125" y="5514975"/>
            <a:ext cx="3238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33E82C1-17F2-444B-80BC-9FAB3766D71B}" type="datetime'Z''''''''''''''''''''''''''''C''''''''Z''''''1''''4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ZCZ14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2" name="Text Placeholder 2">
            <a:extLst>
              <a:ext uri="{FF2B5EF4-FFF2-40B4-BE49-F238E27FC236}">
                <a16:creationId xmlns:a16="http://schemas.microsoft.com/office/drawing/2014/main" id="{147DF6E0-0A83-EC17-F918-3985642CD2D0}"/>
              </a:ext>
            </a:extLst>
          </p:cNvPr>
          <p:cNvSpPr>
            <a:spLocks noGrp="1"/>
          </p:cNvSpPr>
          <p:nvPr>
            <p:custDataLst>
              <p:tags r:id="rId90"/>
            </p:custDataLst>
          </p:nvPr>
        </p:nvSpPr>
        <p:spPr bwMode="auto">
          <a:xfrm>
            <a:off x="6692900" y="5514975"/>
            <a:ext cx="3238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398F71D-359D-41DA-8FE1-BD4A2A3CF908}" type="datetime'''''''''''Z''''''''C''''''Z''''''''1''''7''''''''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ZCZ17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3" name="Text Placeholder 2">
            <a:extLst>
              <a:ext uri="{FF2B5EF4-FFF2-40B4-BE49-F238E27FC236}">
                <a16:creationId xmlns:a16="http://schemas.microsoft.com/office/drawing/2014/main" id="{436672C2-6200-19C2-4DBD-0D8D1999DFB8}"/>
              </a:ext>
            </a:extLst>
          </p:cNvPr>
          <p:cNvSpPr>
            <a:spLocks noGrp="1"/>
          </p:cNvSpPr>
          <p:nvPr>
            <p:custDataLst>
              <p:tags r:id="rId91"/>
            </p:custDataLst>
          </p:nvPr>
        </p:nvSpPr>
        <p:spPr bwMode="auto">
          <a:xfrm>
            <a:off x="7446963" y="5514975"/>
            <a:ext cx="3238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BAF3A4A-78A2-465C-8643-8A38983F9A19}" type="datetime'''''Z''''''''''''C''''''''''''''''''''''''''''Z''''''18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ZCZ18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4" name="Text Placeholder 2">
            <a:extLst>
              <a:ext uri="{FF2B5EF4-FFF2-40B4-BE49-F238E27FC236}">
                <a16:creationId xmlns:a16="http://schemas.microsoft.com/office/drawing/2014/main" id="{C3CCEE2D-2A12-0BBB-B14A-CDB0CAE99CC4}"/>
              </a:ext>
            </a:extLst>
          </p:cNvPr>
          <p:cNvSpPr>
            <a:spLocks noGrp="1"/>
          </p:cNvSpPr>
          <p:nvPr>
            <p:custDataLst>
              <p:tags r:id="rId92"/>
            </p:custDataLst>
          </p:nvPr>
        </p:nvSpPr>
        <p:spPr bwMode="auto">
          <a:xfrm>
            <a:off x="8202613" y="5514975"/>
            <a:ext cx="3238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F49C072-141C-4304-8D0F-C63B6DB6CF90}" type="datetime'''''''''Z''''''''C''''''''''Z''''''''''''''1''''''''9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ZCZ19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5" name="Text Placeholder 2">
            <a:extLst>
              <a:ext uri="{FF2B5EF4-FFF2-40B4-BE49-F238E27FC236}">
                <a16:creationId xmlns:a16="http://schemas.microsoft.com/office/drawing/2014/main" id="{0E9EC28C-37A9-618A-55A7-A04D54180FE9}"/>
              </a:ext>
            </a:extLst>
          </p:cNvPr>
          <p:cNvSpPr>
            <a:spLocks noGrp="1"/>
          </p:cNvSpPr>
          <p:nvPr>
            <p:custDataLst>
              <p:tags r:id="rId93"/>
            </p:custDataLst>
          </p:nvPr>
        </p:nvSpPr>
        <p:spPr bwMode="auto">
          <a:xfrm>
            <a:off x="5938838" y="5514975"/>
            <a:ext cx="3238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D6A5930-AE4F-4EE6-9A00-541C811C2C0E}" type="datetime'''Z''''''''''''''''''''C''''''''Z1''''''6''''''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ZCZ16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6" name="Text Placeholder 2">
            <a:extLst>
              <a:ext uri="{FF2B5EF4-FFF2-40B4-BE49-F238E27FC236}">
                <a16:creationId xmlns:a16="http://schemas.microsoft.com/office/drawing/2014/main" id="{ED8AF2C1-97B6-09A0-F634-6AC543E1AE96}"/>
              </a:ext>
            </a:extLst>
          </p:cNvPr>
          <p:cNvSpPr>
            <a:spLocks noGrp="1"/>
          </p:cNvSpPr>
          <p:nvPr>
            <p:custDataLst>
              <p:tags r:id="rId94"/>
            </p:custDataLst>
          </p:nvPr>
        </p:nvSpPr>
        <p:spPr bwMode="auto">
          <a:xfrm>
            <a:off x="8956675" y="5514975"/>
            <a:ext cx="3238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03F8102-A22A-4F41-B556-B4AD42EF74EF}" type="datetime'''Z''''CZ''''''''''''2''0''''''''''''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ZCZ20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7" name="Text Placeholder 2">
            <a:extLst>
              <a:ext uri="{FF2B5EF4-FFF2-40B4-BE49-F238E27FC236}">
                <a16:creationId xmlns:a16="http://schemas.microsoft.com/office/drawing/2014/main" id="{8FB2382C-1883-CD7C-EB32-39AA846D48F4}"/>
              </a:ext>
            </a:extLst>
          </p:cNvPr>
          <p:cNvSpPr>
            <a:spLocks noGrp="1"/>
          </p:cNvSpPr>
          <p:nvPr>
            <p:custDataLst>
              <p:tags r:id="rId95"/>
            </p:custDataLst>
          </p:nvPr>
        </p:nvSpPr>
        <p:spPr bwMode="auto">
          <a:xfrm>
            <a:off x="9710738" y="5514975"/>
            <a:ext cx="3238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BEC2294-7E99-4764-BA2E-F89FDC3F7615}" type="datetime'''''''''''''''''''''''''''Z''''C''Z''''''''''''''21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ZCZ21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8" name="Text Placeholder 2">
            <a:extLst>
              <a:ext uri="{FF2B5EF4-FFF2-40B4-BE49-F238E27FC236}">
                <a16:creationId xmlns:a16="http://schemas.microsoft.com/office/drawing/2014/main" id="{9DE8F9B0-3A02-8BC3-701D-03C799B2A568}"/>
              </a:ext>
            </a:extLst>
          </p:cNvPr>
          <p:cNvSpPr>
            <a:spLocks noGrp="1"/>
          </p:cNvSpPr>
          <p:nvPr>
            <p:custDataLst>
              <p:tags r:id="rId96"/>
            </p:custDataLst>
          </p:nvPr>
        </p:nvSpPr>
        <p:spPr bwMode="auto">
          <a:xfrm>
            <a:off x="10466388" y="5514975"/>
            <a:ext cx="3238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70F0401-0F12-4B43-BB0F-35D5702E0C31}" type="datetime'''''''''Z''C''''''''''''''''Z''''''''''''''''2''''''2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ZCZ22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9" name="Google Shape;11;p28">
            <a:extLst>
              <a:ext uri="{FF2B5EF4-FFF2-40B4-BE49-F238E27FC236}">
                <a16:creationId xmlns:a16="http://schemas.microsoft.com/office/drawing/2014/main" id="{88525731-88C6-7F81-C690-66F6E73EBF05}"/>
              </a:ext>
            </a:extLst>
          </p:cNvPr>
          <p:cNvSpPr txBox="1">
            <a:spLocks noGrp="1"/>
          </p:cNvSpPr>
          <p:nvPr>
            <p:custDataLst>
              <p:tags r:id="rId97"/>
            </p:custDataLst>
          </p:nvPr>
        </p:nvSpPr>
        <p:spPr bwMode="auto">
          <a:xfrm>
            <a:off x="2138363" y="3927475"/>
            <a:ext cx="377825" cy="173038"/>
          </a:xfrm>
          <a:prstGeom prst="ellipse">
            <a:avLst/>
          </a:prstGeom>
          <a:solidFill>
            <a:srgbClr val="010A19"/>
          </a:solidFill>
          <a:ln w="9525" cmpd="sng" algn="ctr">
            <a:solidFill>
              <a:srgbClr val="00004B"/>
            </a:solidFill>
          </a:ln>
          <a:effectLst/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BF40CEDC-B920-41CC-9A42-C1821DB9A15D}" type="datetime'-''2,''''7''%'''''''''''''''''''''''''''''''''''''''''''''''">
              <a:rPr kumimoji="0" lang="en-US" altLang="en-US" sz="800" b="1" i="0" u="none" strike="noStrike" kern="0" cap="none" spc="0" normalizeH="0" baseline="0" noProof="0" smtClean="0">
                <a:ln>
                  <a:noFill/>
                </a:ln>
                <a:solidFill>
                  <a:srgbClr val="73DC78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-2,7%</a:t>
            </a:fld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73DC78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300" name="Text Placeholder 2">
            <a:extLst>
              <a:ext uri="{FF2B5EF4-FFF2-40B4-BE49-F238E27FC236}">
                <a16:creationId xmlns:a16="http://schemas.microsoft.com/office/drawing/2014/main" id="{BC2A540B-9941-6CA1-3122-9AF1EE29D0A9}"/>
              </a:ext>
            </a:extLst>
          </p:cNvPr>
          <p:cNvSpPr>
            <a:spLocks noGrp="1"/>
          </p:cNvSpPr>
          <p:nvPr>
            <p:custDataLst>
              <p:tags r:id="rId98"/>
            </p:custDataLst>
          </p:nvPr>
        </p:nvSpPr>
        <p:spPr bwMode="auto">
          <a:xfrm>
            <a:off x="3608388" y="4395788"/>
            <a:ext cx="458788" cy="173038"/>
          </a:xfrm>
          <a:prstGeom prst="ellipse">
            <a:avLst/>
          </a:prstGeom>
          <a:solidFill>
            <a:srgbClr val="010A19"/>
          </a:solidFill>
          <a:ln w="9525" algn="ctr">
            <a:solidFill>
              <a:srgbClr val="00004B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FA14788-4C2A-4D77-B5D1-C8B0E4AA8B45}" type="datetime'''''''''-1''''''4'''''''''''''''''''''''',0''''''''%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73DC7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-14,0%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73DC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1" name="Text Placeholder 2">
            <a:extLst>
              <a:ext uri="{FF2B5EF4-FFF2-40B4-BE49-F238E27FC236}">
                <a16:creationId xmlns:a16="http://schemas.microsoft.com/office/drawing/2014/main" id="{73AC76A9-A64B-AFBF-E295-0EE2D6AD88B0}"/>
              </a:ext>
            </a:extLst>
          </p:cNvPr>
          <p:cNvSpPr>
            <a:spLocks noGrp="1"/>
          </p:cNvSpPr>
          <p:nvPr>
            <p:custDataLst>
              <p:tags r:id="rId99"/>
            </p:custDataLst>
          </p:nvPr>
        </p:nvSpPr>
        <p:spPr bwMode="auto">
          <a:xfrm>
            <a:off x="4362450" y="4676775"/>
            <a:ext cx="458788" cy="173038"/>
          </a:xfrm>
          <a:prstGeom prst="ellipse">
            <a:avLst/>
          </a:prstGeom>
          <a:solidFill>
            <a:srgbClr val="010A19"/>
          </a:solidFill>
          <a:ln w="9525" algn="ctr">
            <a:solidFill>
              <a:srgbClr val="00004B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E98BC0B-468C-4126-A181-DDC467F38940}" type="datetime'''-''''''''''1''''''''9,''''''''''''''1''''''%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73DC7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-19,1%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73DC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2" name="Oval 259">
            <a:extLst>
              <a:ext uri="{FF2B5EF4-FFF2-40B4-BE49-F238E27FC236}">
                <a16:creationId xmlns:a16="http://schemas.microsoft.com/office/drawing/2014/main" id="{3BB6E6FC-4A49-6B11-0E0F-AEA19FA12C9F}"/>
              </a:ext>
            </a:extLst>
          </p:cNvPr>
          <p:cNvSpPr>
            <a:spLocks noGrp="1" noChangeArrowheads="1"/>
          </p:cNvSpPr>
          <p:nvPr>
            <p:custDataLst>
              <p:tags r:id="rId100"/>
            </p:custDataLst>
          </p:nvPr>
        </p:nvSpPr>
        <p:spPr bwMode="auto">
          <a:xfrm>
            <a:off x="5157788" y="4719638"/>
            <a:ext cx="377825" cy="173038"/>
          </a:xfrm>
          <a:prstGeom prst="ellipse">
            <a:avLst/>
          </a:prstGeom>
          <a:solidFill>
            <a:srgbClr val="010A19"/>
          </a:solidFill>
          <a:ln w="9525" algn="ctr">
            <a:solidFill>
              <a:srgbClr val="00004B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85750" indent="-285750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●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76275" indent="-276225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2pPr>
            <a:lvl3pPr marL="1144588" indent="-287338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1619250" indent="-295275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4pPr>
            <a:lvl5pPr marL="2093913" indent="-295275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Char char="•"/>
              <a:defRPr sz="1800">
                <a:solidFill>
                  <a:schemeClr val="tx1"/>
                </a:solidFill>
                <a:latin typeface="+mn-lt"/>
              </a:defRPr>
            </a:lvl5pPr>
            <a:lvl6pPr marL="25511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30083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34655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9227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7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3DC78"/>
              </a:buClr>
              <a:buSzTx/>
              <a:buFont typeface="Arial" charset="0"/>
              <a:buNone/>
              <a:tabLst/>
              <a:defRPr/>
            </a:pPr>
            <a:fld id="{E69D71AE-2585-460D-AC13-DBF654543ACA}" type="datetime'''-''''''2'''',7''%'''''''''''''''''''''''''''''''">
              <a:rPr kumimoji="0" lang="en-US" altLang="en-US" sz="800" b="1" i="0" u="none" strike="noStrike" kern="0" cap="none" spc="0" normalizeH="0" baseline="0" noProof="0" smtClean="0">
                <a:ln>
                  <a:noFill/>
                </a:ln>
                <a:solidFill>
                  <a:srgbClr val="73DC7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572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DC78"/>
                </a:buClr>
                <a:buSzTx/>
                <a:buFont typeface="Arial" charset="0"/>
                <a:buNone/>
                <a:tabLst/>
                <a:defRPr/>
              </a:pPr>
              <a:t>-2,7%</a:t>
            </a:fld>
            <a:endParaRPr kumimoji="0" lang="en-US" altLang="en-US" sz="800" b="1" i="0" u="none" strike="noStrike" kern="0" cap="none" spc="0" normalizeH="0" baseline="0" noProof="0">
              <a:ln>
                <a:noFill/>
              </a:ln>
              <a:solidFill>
                <a:srgbClr val="73DC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3" name="Text Placeholder 2">
            <a:extLst>
              <a:ext uri="{FF2B5EF4-FFF2-40B4-BE49-F238E27FC236}">
                <a16:creationId xmlns:a16="http://schemas.microsoft.com/office/drawing/2014/main" id="{1E7089B3-4207-7F5A-710E-77564034AEEE}"/>
              </a:ext>
            </a:extLst>
          </p:cNvPr>
          <p:cNvSpPr>
            <a:spLocks noGrp="1"/>
          </p:cNvSpPr>
          <p:nvPr>
            <p:custDataLst>
              <p:tags r:id="rId101"/>
            </p:custDataLst>
          </p:nvPr>
        </p:nvSpPr>
        <p:spPr bwMode="auto">
          <a:xfrm>
            <a:off x="5872163" y="4794250"/>
            <a:ext cx="458788" cy="173038"/>
          </a:xfrm>
          <a:prstGeom prst="ellipse">
            <a:avLst/>
          </a:prstGeom>
          <a:solidFill>
            <a:srgbClr val="010A19"/>
          </a:solidFill>
          <a:ln w="9525" algn="ctr">
            <a:solidFill>
              <a:srgbClr val="00004B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825BFAB-1038-41FD-84F3-0638E245040C}" type="datetime'''''-''''''''''''1''''''''''''''0,''''''7''%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73DC7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-10,7%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73DC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4" name="Oval 261">
            <a:extLst>
              <a:ext uri="{FF2B5EF4-FFF2-40B4-BE49-F238E27FC236}">
                <a16:creationId xmlns:a16="http://schemas.microsoft.com/office/drawing/2014/main" id="{F6447E47-98DB-3766-452A-2340EAA7FA8C}"/>
              </a:ext>
            </a:extLst>
          </p:cNvPr>
          <p:cNvSpPr>
            <a:spLocks noGrp="1" noChangeArrowheads="1"/>
          </p:cNvSpPr>
          <p:nvPr>
            <p:custDataLst>
              <p:tags r:id="rId102"/>
            </p:custDataLst>
          </p:nvPr>
        </p:nvSpPr>
        <p:spPr bwMode="auto">
          <a:xfrm>
            <a:off x="6626225" y="4775200"/>
            <a:ext cx="458788" cy="173038"/>
          </a:xfrm>
          <a:prstGeom prst="ellipse">
            <a:avLst/>
          </a:prstGeom>
          <a:solidFill>
            <a:srgbClr val="010A19"/>
          </a:solidFill>
          <a:ln w="9525" algn="ctr">
            <a:solidFill>
              <a:srgbClr val="00004B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85750" indent="-285750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●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76275" indent="-276225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2pPr>
            <a:lvl3pPr marL="1144588" indent="-287338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1619250" indent="-295275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4pPr>
            <a:lvl5pPr marL="2093913" indent="-295275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Char char="•"/>
              <a:defRPr sz="1800">
                <a:solidFill>
                  <a:schemeClr val="tx1"/>
                </a:solidFill>
                <a:latin typeface="+mn-lt"/>
              </a:defRPr>
            </a:lvl5pPr>
            <a:lvl6pPr marL="25511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30083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34655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9227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7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3DC78"/>
              </a:buClr>
              <a:buSzTx/>
              <a:buFont typeface="Arial" charset="0"/>
              <a:buNone/>
              <a:tabLst/>
              <a:defRPr/>
            </a:pPr>
            <a:fld id="{BBFEAADC-952B-4D63-9627-0A6A0189A65C}" type="datetime'''''''''-''''''''''''''''''1''''''0'''''''''''''',''''''2%'''">
              <a:rPr kumimoji="0" lang="en-US" altLang="en-US" sz="800" b="1" i="0" u="none" strike="noStrike" kern="0" cap="none" spc="0" normalizeH="0" baseline="0" noProof="0" smtClean="0">
                <a:ln>
                  <a:noFill/>
                </a:ln>
                <a:solidFill>
                  <a:srgbClr val="73DC7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572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DC78"/>
                </a:buClr>
                <a:buSzTx/>
                <a:buFont typeface="Arial" charset="0"/>
                <a:buNone/>
                <a:tabLst/>
                <a:defRPr/>
              </a:pPr>
              <a:t>-10,2%</a:t>
            </a:fld>
            <a:endParaRPr kumimoji="0" lang="en-US" altLang="en-US" sz="800" b="1" i="0" u="none" strike="noStrike" kern="0" cap="none" spc="0" normalizeH="0" baseline="0" noProof="0">
              <a:ln>
                <a:noFill/>
              </a:ln>
              <a:solidFill>
                <a:srgbClr val="73DC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5" name="Text Placeholder 2">
            <a:extLst>
              <a:ext uri="{FF2B5EF4-FFF2-40B4-BE49-F238E27FC236}">
                <a16:creationId xmlns:a16="http://schemas.microsoft.com/office/drawing/2014/main" id="{146FACB1-5821-6A45-98D0-19D4FBD4EC88}"/>
              </a:ext>
            </a:extLst>
          </p:cNvPr>
          <p:cNvSpPr>
            <a:spLocks noGrp="1"/>
          </p:cNvSpPr>
          <p:nvPr>
            <p:custDataLst>
              <p:tags r:id="rId103"/>
            </p:custDataLst>
          </p:nvPr>
        </p:nvSpPr>
        <p:spPr bwMode="auto">
          <a:xfrm>
            <a:off x="7419975" y="4781550"/>
            <a:ext cx="377825" cy="173038"/>
          </a:xfrm>
          <a:prstGeom prst="ellipse">
            <a:avLst/>
          </a:prstGeom>
          <a:solidFill>
            <a:srgbClr val="010A19"/>
          </a:solidFill>
          <a:ln w="9525" algn="ctr">
            <a:solidFill>
              <a:srgbClr val="00004B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7A3DC26-7FF7-40DE-8AFB-F5D6809E5E20}" type="datetime'''''''''''''''''''''''-''''''''5,9''''''''''''''''''%'''''''''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73DC7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-5,9%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73DC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6" name="Oval 263">
            <a:extLst>
              <a:ext uri="{FF2B5EF4-FFF2-40B4-BE49-F238E27FC236}">
                <a16:creationId xmlns:a16="http://schemas.microsoft.com/office/drawing/2014/main" id="{71BB7F9B-B467-2B29-C954-BBE9C8063651}"/>
              </a:ext>
            </a:extLst>
          </p:cNvPr>
          <p:cNvSpPr>
            <a:spLocks noGrp="1" noChangeArrowheads="1"/>
          </p:cNvSpPr>
          <p:nvPr>
            <p:custDataLst>
              <p:tags r:id="rId104"/>
            </p:custDataLst>
          </p:nvPr>
        </p:nvSpPr>
        <p:spPr bwMode="auto">
          <a:xfrm>
            <a:off x="8135937" y="4652963"/>
            <a:ext cx="458788" cy="173038"/>
          </a:xfrm>
          <a:prstGeom prst="ellipse">
            <a:avLst/>
          </a:prstGeom>
          <a:solidFill>
            <a:srgbClr val="010A19"/>
          </a:solidFill>
          <a:ln w="9525" algn="ctr">
            <a:solidFill>
              <a:srgbClr val="00004B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85750" indent="-285750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●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76275" indent="-276225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2pPr>
            <a:lvl3pPr marL="1144588" indent="-287338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1619250" indent="-295275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4pPr>
            <a:lvl5pPr marL="2093913" indent="-295275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Char char="•"/>
              <a:defRPr sz="1800">
                <a:solidFill>
                  <a:schemeClr val="tx1"/>
                </a:solidFill>
                <a:latin typeface="+mn-lt"/>
              </a:defRPr>
            </a:lvl5pPr>
            <a:lvl6pPr marL="25511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30083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34655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9227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57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3DC78"/>
              </a:buClr>
              <a:buSzTx/>
              <a:buFont typeface="Arial" charset="0"/>
              <a:buNone/>
              <a:tabLst/>
              <a:defRPr/>
            </a:pPr>
            <a:fld id="{A1105709-071B-4168-B004-5C125F3D9D29}" type="datetime'''-''''''''''1''''''''1'''''''''''''''',3%'''''''''">
              <a:rPr kumimoji="0" lang="en-US" altLang="en-US" sz="800" b="1" i="0" u="none" strike="noStrike" kern="0" cap="none" spc="0" normalizeH="0" baseline="0" noProof="0" smtClean="0">
                <a:ln>
                  <a:noFill/>
                </a:ln>
                <a:solidFill>
                  <a:srgbClr val="73DC7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572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3DC78"/>
                </a:buClr>
                <a:buSzTx/>
                <a:buFont typeface="Arial" charset="0"/>
                <a:buNone/>
                <a:tabLst/>
                <a:defRPr/>
              </a:pPr>
              <a:t>-11,3%</a:t>
            </a:fld>
            <a:endParaRPr kumimoji="0" lang="en-US" altLang="en-US" sz="800" b="1" i="0" u="none" strike="noStrike" kern="0" cap="none" spc="0" normalizeH="0" baseline="0" noProof="0">
              <a:ln>
                <a:noFill/>
              </a:ln>
              <a:solidFill>
                <a:srgbClr val="73DC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7" name="Google Shape;11;p28">
            <a:extLst>
              <a:ext uri="{FF2B5EF4-FFF2-40B4-BE49-F238E27FC236}">
                <a16:creationId xmlns:a16="http://schemas.microsoft.com/office/drawing/2014/main" id="{2B395559-02B2-D5F8-BC90-520B45B35CE7}"/>
              </a:ext>
            </a:extLst>
          </p:cNvPr>
          <p:cNvSpPr txBox="1">
            <a:spLocks noGrp="1"/>
          </p:cNvSpPr>
          <p:nvPr>
            <p:custDataLst>
              <p:tags r:id="rId105"/>
            </p:custDataLst>
          </p:nvPr>
        </p:nvSpPr>
        <p:spPr bwMode="auto">
          <a:xfrm>
            <a:off x="9683750" y="4273550"/>
            <a:ext cx="377825" cy="173038"/>
          </a:xfrm>
          <a:prstGeom prst="ellipse">
            <a:avLst/>
          </a:prstGeom>
          <a:solidFill>
            <a:srgbClr val="010A19"/>
          </a:solidFill>
          <a:ln w="9525" cmpd="sng" algn="ctr">
            <a:solidFill>
              <a:srgbClr val="00004B"/>
            </a:solidFill>
          </a:ln>
          <a:effectLst/>
        </p:spPr>
        <p:txBody>
          <a:bodyPr spcFirstLastPara="1" vert="horz" wrap="non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97745D75-2561-4349-BD79-3FD95B744FB5}" type="datetime'-4,''''''2''''''''''''''''''''%'''''''">
              <a:rPr kumimoji="0" lang="en-US" altLang="en-US" sz="800" b="1" i="0" u="none" strike="noStrike" kern="0" cap="none" spc="0" normalizeH="0" baseline="0" noProof="0" smtClean="0">
                <a:ln>
                  <a:noFill/>
                </a:ln>
                <a:solidFill>
                  <a:srgbClr val="73DC78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-4,2%</a:t>
            </a:fld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73DC78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308" name="Google Shape;11;p28">
            <a:extLst>
              <a:ext uri="{FF2B5EF4-FFF2-40B4-BE49-F238E27FC236}">
                <a16:creationId xmlns:a16="http://schemas.microsoft.com/office/drawing/2014/main" id="{0C5BB5FE-0B75-70F5-1DEF-4337A227DCD2}"/>
              </a:ext>
            </a:extLst>
          </p:cNvPr>
          <p:cNvSpPr txBox="1">
            <a:spLocks noGrp="1"/>
          </p:cNvSpPr>
          <p:nvPr>
            <p:custDataLst>
              <p:tags r:id="rId106"/>
            </p:custDataLst>
          </p:nvPr>
        </p:nvSpPr>
        <p:spPr bwMode="auto">
          <a:xfrm>
            <a:off x="11193464" y="4357688"/>
            <a:ext cx="377825" cy="173038"/>
          </a:xfrm>
          <a:prstGeom prst="ellipse">
            <a:avLst/>
          </a:prstGeom>
          <a:solidFill>
            <a:srgbClr val="010A19"/>
          </a:solidFill>
          <a:ln w="9525" algn="ctr">
            <a:solidFill>
              <a:srgbClr val="00004B"/>
            </a:solidFill>
          </a:ln>
          <a:effectLst/>
        </p:spPr>
        <p:txBody>
          <a:bodyPr spcFirstLastPara="1" vert="horz" wrap="none" lIns="0" tIns="0" rIns="0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5ED5CF19-90AF-4B12-A5C4-44637CD30F26}" type="datetime'''''''''''''-''''''''''''''''''8'''''''''',6''%'''''''''">
              <a:rPr kumimoji="0" lang="en-US" altLang="en-US" sz="800" b="1" i="0" u="none" strike="noStrike" kern="0" cap="none" spc="0" normalizeH="0" baseline="0" noProof="0" smtClean="0">
                <a:ln>
                  <a:noFill/>
                </a:ln>
                <a:solidFill>
                  <a:srgbClr val="73DC78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-8,6%</a:t>
            </a:fld>
            <a:endParaRPr kumimoji="0" lang="en-US" sz="800" b="1" i="0" u="none" strike="noStrike" kern="0" cap="none" spc="0" normalizeH="0" baseline="0" noProof="0">
              <a:ln>
                <a:noFill/>
              </a:ln>
              <a:solidFill>
                <a:srgbClr val="73DC78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309" name="Rectangle 265">
            <a:extLst>
              <a:ext uri="{FF2B5EF4-FFF2-40B4-BE49-F238E27FC236}">
                <a16:creationId xmlns:a16="http://schemas.microsoft.com/office/drawing/2014/main" id="{B0E95165-E9D1-200A-775F-0553C035ED7C}"/>
              </a:ext>
            </a:extLst>
          </p:cNvPr>
          <p:cNvSpPr/>
          <p:nvPr/>
        </p:nvSpPr>
        <p:spPr bwMode="auto">
          <a:xfrm>
            <a:off x="3444874" y="3743740"/>
            <a:ext cx="5321300" cy="1745836"/>
          </a:xfrm>
          <a:prstGeom prst="rect">
            <a:avLst/>
          </a:prstGeom>
          <a:noFill/>
          <a:ln w="19050" cap="flat" cmpd="sng" algn="ctr">
            <a:solidFill>
              <a:srgbClr val="0087F1"/>
            </a:solidFill>
            <a:prstDash val="sysDot"/>
            <a:headEnd type="none" w="sm" len="sm"/>
            <a:tailEnd type="none" w="sm" len="sm"/>
          </a:ln>
          <a:effectLst/>
        </p:spPr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defTabSz="9572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F7800"/>
              </a:buClr>
              <a:buSzTx/>
              <a:buFont typeface="Arial" charset="0"/>
              <a:buChar char="●"/>
              <a:tabLst/>
              <a:defRPr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solidFill>
                <a:srgbClr val="62646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10" name="Group 266">
            <a:extLst>
              <a:ext uri="{FF2B5EF4-FFF2-40B4-BE49-F238E27FC236}">
                <a16:creationId xmlns:a16="http://schemas.microsoft.com/office/drawing/2014/main" id="{7EAC62C2-944D-802B-42C3-ABB09AAA507E}"/>
              </a:ext>
            </a:extLst>
          </p:cNvPr>
          <p:cNvGrpSpPr/>
          <p:nvPr/>
        </p:nvGrpSpPr>
        <p:grpSpPr>
          <a:xfrm>
            <a:off x="5838650" y="3781107"/>
            <a:ext cx="284163" cy="274638"/>
            <a:chOff x="4251860" y="1995798"/>
            <a:chExt cx="509964" cy="509964"/>
          </a:xfrm>
        </p:grpSpPr>
        <p:sp>
          <p:nvSpPr>
            <p:cNvPr id="311" name="Oval 267">
              <a:extLst>
                <a:ext uri="{FF2B5EF4-FFF2-40B4-BE49-F238E27FC236}">
                  <a16:creationId xmlns:a16="http://schemas.microsoft.com/office/drawing/2014/main" id="{1F617C98-74B7-10ED-6CBB-2BCE4CAD026B}"/>
                </a:ext>
              </a:extLst>
            </p:cNvPr>
            <p:cNvSpPr/>
            <p:nvPr/>
          </p:nvSpPr>
          <p:spPr>
            <a:xfrm>
              <a:off x="4251860" y="1995798"/>
              <a:ext cx="509964" cy="509964"/>
            </a:xfrm>
            <a:prstGeom prst="ellipse">
              <a:avLst/>
            </a:prstGeom>
            <a:solidFill>
              <a:srgbClr val="0087F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10A1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312" name="Graphic 268">
              <a:extLst>
                <a:ext uri="{FF2B5EF4-FFF2-40B4-BE49-F238E27FC236}">
                  <a16:creationId xmlns:a16="http://schemas.microsoft.com/office/drawing/2014/main" id="{DD4E8087-FEEF-D260-51CC-D8D00C57733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5"/>
                </a:ext>
              </a:extLst>
            </a:blip>
            <a:stretch>
              <a:fillRect/>
            </a:stretch>
          </p:blipFill>
          <p:spPr>
            <a:xfrm>
              <a:off x="4388165" y="2121256"/>
              <a:ext cx="237353" cy="237353"/>
            </a:xfrm>
            <a:prstGeom prst="rect">
              <a:avLst/>
            </a:prstGeom>
          </p:spPr>
        </p:pic>
      </p:grpSp>
      <p:sp>
        <p:nvSpPr>
          <p:cNvPr id="313" name="Rectangle 269">
            <a:extLst>
              <a:ext uri="{FF2B5EF4-FFF2-40B4-BE49-F238E27FC236}">
                <a16:creationId xmlns:a16="http://schemas.microsoft.com/office/drawing/2014/main" id="{3874FA0E-4D9C-D800-5C66-2C17F56A0F48}"/>
              </a:ext>
            </a:extLst>
          </p:cNvPr>
          <p:cNvSpPr/>
          <p:nvPr>
            <p:custDataLst>
              <p:tags r:id="rId107"/>
            </p:custDataLst>
          </p:nvPr>
        </p:nvSpPr>
        <p:spPr bwMode="auto">
          <a:xfrm>
            <a:off x="4538663" y="5753100"/>
            <a:ext cx="142875" cy="106363"/>
          </a:xfrm>
          <a:prstGeom prst="rect">
            <a:avLst/>
          </a:prstGeom>
          <a:solidFill>
            <a:srgbClr val="2000F5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4" name="Rectangle 270">
            <a:extLst>
              <a:ext uri="{FF2B5EF4-FFF2-40B4-BE49-F238E27FC236}">
                <a16:creationId xmlns:a16="http://schemas.microsoft.com/office/drawing/2014/main" id="{A31FE998-668F-FA68-C388-30A678D88CED}"/>
              </a:ext>
            </a:extLst>
          </p:cNvPr>
          <p:cNvSpPr/>
          <p:nvPr>
            <p:custDataLst>
              <p:tags r:id="rId108"/>
            </p:custDataLst>
          </p:nvPr>
        </p:nvSpPr>
        <p:spPr bwMode="auto">
          <a:xfrm>
            <a:off x="6956425" y="5753100"/>
            <a:ext cx="142875" cy="106363"/>
          </a:xfrm>
          <a:prstGeom prst="rect">
            <a:avLst/>
          </a:prstGeom>
          <a:solidFill>
            <a:srgbClr val="8CEF8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5" name="Text Placeholder 2">
            <a:extLst>
              <a:ext uri="{FF2B5EF4-FFF2-40B4-BE49-F238E27FC236}">
                <a16:creationId xmlns:a16="http://schemas.microsoft.com/office/drawing/2014/main" id="{5975F2DC-A04C-075C-D9CC-A543F8C5104F}"/>
              </a:ext>
            </a:extLst>
          </p:cNvPr>
          <p:cNvSpPr>
            <a:spLocks noGrp="1"/>
          </p:cNvSpPr>
          <p:nvPr>
            <p:custDataLst>
              <p:tags r:id="rId109"/>
            </p:custDataLst>
          </p:nvPr>
        </p:nvSpPr>
        <p:spPr bwMode="auto">
          <a:xfrm>
            <a:off x="4732337" y="5748338"/>
            <a:ext cx="2122488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421ECE3-1086-4F60-950A-947935FE1133}" type="datetime'AUT''UMN Price ''Fix''at''i''on Average ''13''.0''5 - 09.08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AUTUMN Price Fixation Average 13.05 - 09.08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6" name="Text Placeholder 2">
            <a:extLst>
              <a:ext uri="{FF2B5EF4-FFF2-40B4-BE49-F238E27FC236}">
                <a16:creationId xmlns:a16="http://schemas.microsoft.com/office/drawing/2014/main" id="{8E846DE4-BD93-9D47-966F-9868BD38B9AC}"/>
              </a:ext>
            </a:extLst>
          </p:cNvPr>
          <p:cNvSpPr>
            <a:spLocks noGrp="1"/>
          </p:cNvSpPr>
          <p:nvPr>
            <p:custDataLst>
              <p:tags r:id="rId110"/>
            </p:custDataLst>
          </p:nvPr>
        </p:nvSpPr>
        <p:spPr bwMode="auto">
          <a:xfrm>
            <a:off x="7150100" y="5748338"/>
            <a:ext cx="158432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BF2BFC7-7012-4EE2-9420-B1CB60DF2771}" type="datetime'S''''e''ttlem''ent  Av''era''ge'' 11.09 –'' ''31''''''.10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Settlement  Average 11.09 – 31.10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7" name="Rectangle 273">
            <a:extLst>
              <a:ext uri="{FF2B5EF4-FFF2-40B4-BE49-F238E27FC236}">
                <a16:creationId xmlns:a16="http://schemas.microsoft.com/office/drawing/2014/main" id="{FE270A39-F6B5-4F29-6A7D-7AA9EE8A4E46}"/>
              </a:ext>
            </a:extLst>
          </p:cNvPr>
          <p:cNvSpPr/>
          <p:nvPr/>
        </p:nvSpPr>
        <p:spPr bwMode="auto">
          <a:xfrm>
            <a:off x="11037887" y="3743740"/>
            <a:ext cx="744538" cy="1745836"/>
          </a:xfrm>
          <a:prstGeom prst="rect">
            <a:avLst/>
          </a:prstGeom>
          <a:noFill/>
          <a:ln w="19050" cap="flat" cmpd="sng" algn="ctr">
            <a:solidFill>
              <a:srgbClr val="0087F1"/>
            </a:solidFill>
            <a:prstDash val="sysDot"/>
            <a:headEnd type="none" w="sm" len="sm"/>
            <a:tailEnd type="none" w="sm" len="sm"/>
          </a:ln>
          <a:effectLst/>
        </p:spPr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defTabSz="9572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F7800"/>
              </a:buClr>
              <a:buSzTx/>
              <a:buFont typeface="Arial" charset="0"/>
              <a:buChar char="●"/>
              <a:tabLst/>
              <a:defRPr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solidFill>
                <a:srgbClr val="62646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18" name="Group 274">
            <a:extLst>
              <a:ext uri="{FF2B5EF4-FFF2-40B4-BE49-F238E27FC236}">
                <a16:creationId xmlns:a16="http://schemas.microsoft.com/office/drawing/2014/main" id="{0722B7EF-B591-2C54-4387-4D7E5095A893}"/>
              </a:ext>
            </a:extLst>
          </p:cNvPr>
          <p:cNvGrpSpPr/>
          <p:nvPr/>
        </p:nvGrpSpPr>
        <p:grpSpPr>
          <a:xfrm>
            <a:off x="11234562" y="3781107"/>
            <a:ext cx="284163" cy="274638"/>
            <a:chOff x="4251860" y="1995798"/>
            <a:chExt cx="509964" cy="509964"/>
          </a:xfrm>
        </p:grpSpPr>
        <p:sp>
          <p:nvSpPr>
            <p:cNvPr id="319" name="Oval 275">
              <a:extLst>
                <a:ext uri="{FF2B5EF4-FFF2-40B4-BE49-F238E27FC236}">
                  <a16:creationId xmlns:a16="http://schemas.microsoft.com/office/drawing/2014/main" id="{271AADCA-BEC2-69D5-A133-454ED78991BA}"/>
                </a:ext>
              </a:extLst>
            </p:cNvPr>
            <p:cNvSpPr/>
            <p:nvPr/>
          </p:nvSpPr>
          <p:spPr>
            <a:xfrm>
              <a:off x="4251860" y="1995798"/>
              <a:ext cx="509964" cy="509964"/>
            </a:xfrm>
            <a:prstGeom prst="ellipse">
              <a:avLst/>
            </a:prstGeom>
            <a:solidFill>
              <a:srgbClr val="0087F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10A1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320" name="Graphic 276">
              <a:extLst>
                <a:ext uri="{FF2B5EF4-FFF2-40B4-BE49-F238E27FC236}">
                  <a16:creationId xmlns:a16="http://schemas.microsoft.com/office/drawing/2014/main" id="{E070A07A-B7FF-39DB-88AE-BE2D4EE3CF4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5"/>
                </a:ext>
              </a:extLst>
            </a:blip>
            <a:stretch>
              <a:fillRect/>
            </a:stretch>
          </p:blipFill>
          <p:spPr>
            <a:xfrm>
              <a:off x="4388165" y="2121256"/>
              <a:ext cx="237353" cy="237353"/>
            </a:xfrm>
            <a:prstGeom prst="rect">
              <a:avLst/>
            </a:prstGeom>
          </p:spPr>
        </p:pic>
      </p:grpSp>
      <p:sp>
        <p:nvSpPr>
          <p:cNvPr id="321" name="Arrow: Chevron 171">
            <a:extLst>
              <a:ext uri="{FF2B5EF4-FFF2-40B4-BE49-F238E27FC236}">
                <a16:creationId xmlns:a16="http://schemas.microsoft.com/office/drawing/2014/main" id="{C822BD2F-4678-AD45-4D6A-9F123B74107F}"/>
              </a:ext>
            </a:extLst>
          </p:cNvPr>
          <p:cNvSpPr/>
          <p:nvPr/>
        </p:nvSpPr>
        <p:spPr>
          <a:xfrm>
            <a:off x="152400" y="3684588"/>
            <a:ext cx="1331913" cy="2251075"/>
          </a:xfrm>
          <a:prstGeom prst="chevron">
            <a:avLst>
              <a:gd name="adj" fmla="val 0"/>
            </a:avLst>
          </a:prstGeom>
          <a:solidFill>
            <a:srgbClr val="0D6132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ЗоРРО Осень</a:t>
            </a: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Декабрьский фьючерс</a:t>
            </a:r>
            <a:endParaRPr kumimoji="0" lang="en-US" sz="1050" b="0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322" name="Rectangle 319">
            <a:extLst>
              <a:ext uri="{FF2B5EF4-FFF2-40B4-BE49-F238E27FC236}">
                <a16:creationId xmlns:a16="http://schemas.microsoft.com/office/drawing/2014/main" id="{D3F9A7C1-CE8C-DAE4-4C0A-4985ECFCEBD6}"/>
              </a:ext>
            </a:extLst>
          </p:cNvPr>
          <p:cNvSpPr/>
          <p:nvPr/>
        </p:nvSpPr>
        <p:spPr bwMode="auto">
          <a:xfrm>
            <a:off x="4981879" y="1346202"/>
            <a:ext cx="733347" cy="1781174"/>
          </a:xfrm>
          <a:prstGeom prst="rect">
            <a:avLst/>
          </a:prstGeom>
          <a:noFill/>
          <a:ln w="19050" cap="flat" cmpd="sng" algn="ctr">
            <a:solidFill>
              <a:srgbClr val="0087F1"/>
            </a:solidFill>
            <a:prstDash val="sysDot"/>
            <a:headEnd type="none" w="sm" len="sm"/>
            <a:tailEnd type="none" w="sm" len="sm"/>
          </a:ln>
          <a:effectLst/>
        </p:spPr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defTabSz="9572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F7800"/>
              </a:buClr>
              <a:buSzTx/>
              <a:buFont typeface="Arial" charset="0"/>
              <a:buChar char="●"/>
              <a:tabLst/>
              <a:defRPr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solidFill>
                <a:srgbClr val="62646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23" name="Group 320">
            <a:extLst>
              <a:ext uri="{FF2B5EF4-FFF2-40B4-BE49-F238E27FC236}">
                <a16:creationId xmlns:a16="http://schemas.microsoft.com/office/drawing/2014/main" id="{46F9244F-DEC0-2A64-A9DD-016AEB053CD8}"/>
              </a:ext>
            </a:extLst>
          </p:cNvPr>
          <p:cNvGrpSpPr/>
          <p:nvPr/>
        </p:nvGrpSpPr>
        <p:grpSpPr>
          <a:xfrm>
            <a:off x="5222293" y="1375189"/>
            <a:ext cx="283708" cy="274638"/>
            <a:chOff x="4251860" y="1995798"/>
            <a:chExt cx="509964" cy="509964"/>
          </a:xfrm>
        </p:grpSpPr>
        <p:sp>
          <p:nvSpPr>
            <p:cNvPr id="324" name="Oval 321">
              <a:extLst>
                <a:ext uri="{FF2B5EF4-FFF2-40B4-BE49-F238E27FC236}">
                  <a16:creationId xmlns:a16="http://schemas.microsoft.com/office/drawing/2014/main" id="{5F288D91-33B3-3F9D-D1EB-8C9D048C6E27}"/>
                </a:ext>
              </a:extLst>
            </p:cNvPr>
            <p:cNvSpPr/>
            <p:nvPr/>
          </p:nvSpPr>
          <p:spPr>
            <a:xfrm>
              <a:off x="4251860" y="1995798"/>
              <a:ext cx="509964" cy="509964"/>
            </a:xfrm>
            <a:prstGeom prst="ellipse">
              <a:avLst/>
            </a:prstGeom>
            <a:solidFill>
              <a:srgbClr val="0087F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10A1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325" name="Graphic 322">
              <a:extLst>
                <a:ext uri="{FF2B5EF4-FFF2-40B4-BE49-F238E27FC236}">
                  <a16:creationId xmlns:a16="http://schemas.microsoft.com/office/drawing/2014/main" id="{B8366C32-0DC7-F7B3-C495-6E93A8F2F0E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5"/>
                </a:ext>
              </a:extLst>
            </a:blip>
            <a:stretch>
              <a:fillRect/>
            </a:stretch>
          </p:blipFill>
          <p:spPr>
            <a:xfrm>
              <a:off x="4388165" y="2121256"/>
              <a:ext cx="237353" cy="237353"/>
            </a:xfrm>
            <a:prstGeom prst="rect">
              <a:avLst/>
            </a:prstGeom>
          </p:spPr>
        </p:pic>
      </p:grpSp>
      <p:sp>
        <p:nvSpPr>
          <p:cNvPr id="326" name="Rectangle 323">
            <a:extLst>
              <a:ext uri="{FF2B5EF4-FFF2-40B4-BE49-F238E27FC236}">
                <a16:creationId xmlns:a16="http://schemas.microsoft.com/office/drawing/2014/main" id="{FB886485-D101-5EC5-B6D1-216B2F774C13}"/>
              </a:ext>
            </a:extLst>
          </p:cNvPr>
          <p:cNvSpPr/>
          <p:nvPr/>
        </p:nvSpPr>
        <p:spPr bwMode="auto">
          <a:xfrm>
            <a:off x="6480624" y="1346202"/>
            <a:ext cx="2960007" cy="1781174"/>
          </a:xfrm>
          <a:prstGeom prst="rect">
            <a:avLst/>
          </a:prstGeom>
          <a:noFill/>
          <a:ln w="19050" cap="flat" cmpd="sng" algn="ctr">
            <a:solidFill>
              <a:srgbClr val="0087F1"/>
            </a:solidFill>
            <a:prstDash val="sysDot"/>
            <a:headEnd type="none" w="sm" len="sm"/>
            <a:tailEnd type="none" w="sm" len="sm"/>
          </a:ln>
          <a:effectLst/>
        </p:spPr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defTabSz="9572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F7800"/>
              </a:buClr>
              <a:buSzTx/>
              <a:buFont typeface="Arial" charset="0"/>
              <a:buChar char="●"/>
              <a:tabLst/>
              <a:defRPr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solidFill>
                <a:srgbClr val="62646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27" name="Group 324">
            <a:extLst>
              <a:ext uri="{FF2B5EF4-FFF2-40B4-BE49-F238E27FC236}">
                <a16:creationId xmlns:a16="http://schemas.microsoft.com/office/drawing/2014/main" id="{311EAB20-F21C-079C-8144-C6E63B7D7A17}"/>
              </a:ext>
            </a:extLst>
          </p:cNvPr>
          <p:cNvGrpSpPr/>
          <p:nvPr/>
        </p:nvGrpSpPr>
        <p:grpSpPr>
          <a:xfrm>
            <a:off x="7832158" y="1375189"/>
            <a:ext cx="283708" cy="274638"/>
            <a:chOff x="4251860" y="1995798"/>
            <a:chExt cx="509964" cy="509964"/>
          </a:xfrm>
        </p:grpSpPr>
        <p:sp>
          <p:nvSpPr>
            <p:cNvPr id="328" name="Oval 325">
              <a:extLst>
                <a:ext uri="{FF2B5EF4-FFF2-40B4-BE49-F238E27FC236}">
                  <a16:creationId xmlns:a16="http://schemas.microsoft.com/office/drawing/2014/main" id="{520AB91D-8469-0251-2FCA-65E40EBA0DA4}"/>
                </a:ext>
              </a:extLst>
            </p:cNvPr>
            <p:cNvSpPr/>
            <p:nvPr/>
          </p:nvSpPr>
          <p:spPr>
            <a:xfrm>
              <a:off x="4251860" y="1995798"/>
              <a:ext cx="509964" cy="509964"/>
            </a:xfrm>
            <a:prstGeom prst="ellipse">
              <a:avLst/>
            </a:prstGeom>
            <a:solidFill>
              <a:srgbClr val="0087F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10A1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329" name="Graphic 326">
              <a:extLst>
                <a:ext uri="{FF2B5EF4-FFF2-40B4-BE49-F238E27FC236}">
                  <a16:creationId xmlns:a16="http://schemas.microsoft.com/office/drawing/2014/main" id="{9A7FE0DE-FC38-49C1-2D1B-26A5A8E5245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5"/>
                </a:ext>
              </a:extLst>
            </a:blip>
            <a:stretch>
              <a:fillRect/>
            </a:stretch>
          </p:blipFill>
          <p:spPr>
            <a:xfrm>
              <a:off x="4388165" y="2121256"/>
              <a:ext cx="237353" cy="237353"/>
            </a:xfrm>
            <a:prstGeom prst="rect">
              <a:avLst/>
            </a:prstGeom>
          </p:spPr>
        </p:pic>
      </p:grpSp>
      <p:sp>
        <p:nvSpPr>
          <p:cNvPr id="330" name="Rectangle 353">
            <a:extLst>
              <a:ext uri="{FF2B5EF4-FFF2-40B4-BE49-F238E27FC236}">
                <a16:creationId xmlns:a16="http://schemas.microsoft.com/office/drawing/2014/main" id="{DC99BFC9-6731-712D-3404-8B67887ED77A}"/>
              </a:ext>
            </a:extLst>
          </p:cNvPr>
          <p:cNvSpPr/>
          <p:nvPr/>
        </p:nvSpPr>
        <p:spPr bwMode="auto">
          <a:xfrm>
            <a:off x="9499846" y="3743740"/>
            <a:ext cx="744538" cy="1745836"/>
          </a:xfrm>
          <a:prstGeom prst="rect">
            <a:avLst/>
          </a:prstGeom>
          <a:noFill/>
          <a:ln w="19050" cap="flat" cmpd="sng" algn="ctr">
            <a:solidFill>
              <a:srgbClr val="0087F1"/>
            </a:solidFill>
            <a:prstDash val="sysDot"/>
            <a:headEnd type="none" w="sm" len="sm"/>
            <a:tailEnd type="none" w="sm" len="sm"/>
          </a:ln>
          <a:effectLst/>
        </p:spPr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defTabSz="9572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F7800"/>
              </a:buClr>
              <a:buSzTx/>
              <a:buFont typeface="Arial" charset="0"/>
              <a:buChar char="●"/>
              <a:tabLst/>
              <a:defRPr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solidFill>
                <a:srgbClr val="62646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31" name="Group 354">
            <a:extLst>
              <a:ext uri="{FF2B5EF4-FFF2-40B4-BE49-F238E27FC236}">
                <a16:creationId xmlns:a16="http://schemas.microsoft.com/office/drawing/2014/main" id="{E0FBDB6B-C7E2-D1D2-5DE1-ED8AB3048712}"/>
              </a:ext>
            </a:extLst>
          </p:cNvPr>
          <p:cNvGrpSpPr/>
          <p:nvPr/>
        </p:nvGrpSpPr>
        <p:grpSpPr>
          <a:xfrm>
            <a:off x="9696521" y="3781107"/>
            <a:ext cx="284163" cy="274638"/>
            <a:chOff x="4251860" y="1995798"/>
            <a:chExt cx="509964" cy="509964"/>
          </a:xfrm>
        </p:grpSpPr>
        <p:sp>
          <p:nvSpPr>
            <p:cNvPr id="332" name="Oval 355">
              <a:extLst>
                <a:ext uri="{FF2B5EF4-FFF2-40B4-BE49-F238E27FC236}">
                  <a16:creationId xmlns:a16="http://schemas.microsoft.com/office/drawing/2014/main" id="{2BB3EFF7-49C5-127E-0E78-11596DE2A8C9}"/>
                </a:ext>
              </a:extLst>
            </p:cNvPr>
            <p:cNvSpPr/>
            <p:nvPr/>
          </p:nvSpPr>
          <p:spPr>
            <a:xfrm>
              <a:off x="4251860" y="1995798"/>
              <a:ext cx="509964" cy="509964"/>
            </a:xfrm>
            <a:prstGeom prst="ellipse">
              <a:avLst/>
            </a:prstGeom>
            <a:solidFill>
              <a:srgbClr val="0087F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10A1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333" name="Graphic 356">
              <a:extLst>
                <a:ext uri="{FF2B5EF4-FFF2-40B4-BE49-F238E27FC236}">
                  <a16:creationId xmlns:a16="http://schemas.microsoft.com/office/drawing/2014/main" id="{2AB8B43D-48F5-5E55-86DF-BE5812031D4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5"/>
                </a:ext>
              </a:extLst>
            </a:blip>
            <a:stretch>
              <a:fillRect/>
            </a:stretch>
          </p:blipFill>
          <p:spPr>
            <a:xfrm>
              <a:off x="4388165" y="2121256"/>
              <a:ext cx="237353" cy="237353"/>
            </a:xfrm>
            <a:prstGeom prst="rect">
              <a:avLst/>
            </a:prstGeom>
          </p:spPr>
        </p:pic>
      </p:grpSp>
      <p:sp>
        <p:nvSpPr>
          <p:cNvPr id="334" name="Rectangle 357">
            <a:extLst>
              <a:ext uri="{FF2B5EF4-FFF2-40B4-BE49-F238E27FC236}">
                <a16:creationId xmlns:a16="http://schemas.microsoft.com/office/drawing/2014/main" id="{DDBF2ACF-39E6-6E09-7EAB-4B297A88DA36}"/>
              </a:ext>
            </a:extLst>
          </p:cNvPr>
          <p:cNvSpPr/>
          <p:nvPr/>
        </p:nvSpPr>
        <p:spPr bwMode="auto">
          <a:xfrm>
            <a:off x="1971921" y="3743740"/>
            <a:ext cx="744538" cy="1745836"/>
          </a:xfrm>
          <a:prstGeom prst="rect">
            <a:avLst/>
          </a:prstGeom>
          <a:noFill/>
          <a:ln w="19050" cap="flat" cmpd="sng" algn="ctr">
            <a:solidFill>
              <a:srgbClr val="0087F1"/>
            </a:solidFill>
            <a:prstDash val="sysDot"/>
            <a:headEnd type="none" w="sm" len="sm"/>
            <a:tailEnd type="none" w="sm" len="sm"/>
          </a:ln>
          <a:effectLst/>
        </p:spPr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defTabSz="9572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F7800"/>
              </a:buClr>
              <a:buSzTx/>
              <a:buFont typeface="Arial" charset="0"/>
              <a:buChar char="●"/>
              <a:tabLst/>
              <a:defRPr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solidFill>
                <a:srgbClr val="62646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35" name="Group 358">
            <a:extLst>
              <a:ext uri="{FF2B5EF4-FFF2-40B4-BE49-F238E27FC236}">
                <a16:creationId xmlns:a16="http://schemas.microsoft.com/office/drawing/2014/main" id="{470FB680-9E25-7345-8804-976A16B83B5C}"/>
              </a:ext>
            </a:extLst>
          </p:cNvPr>
          <p:cNvGrpSpPr/>
          <p:nvPr/>
        </p:nvGrpSpPr>
        <p:grpSpPr>
          <a:xfrm>
            <a:off x="2456779" y="3713578"/>
            <a:ext cx="284163" cy="274638"/>
            <a:chOff x="4251860" y="1995798"/>
            <a:chExt cx="509964" cy="509964"/>
          </a:xfrm>
        </p:grpSpPr>
        <p:sp>
          <p:nvSpPr>
            <p:cNvPr id="336" name="Oval 359">
              <a:extLst>
                <a:ext uri="{FF2B5EF4-FFF2-40B4-BE49-F238E27FC236}">
                  <a16:creationId xmlns:a16="http://schemas.microsoft.com/office/drawing/2014/main" id="{0311D71B-0786-65E1-BA06-79A5C4367107}"/>
                </a:ext>
              </a:extLst>
            </p:cNvPr>
            <p:cNvSpPr/>
            <p:nvPr/>
          </p:nvSpPr>
          <p:spPr>
            <a:xfrm>
              <a:off x="4251860" y="1995798"/>
              <a:ext cx="509964" cy="509964"/>
            </a:xfrm>
            <a:prstGeom prst="ellipse">
              <a:avLst/>
            </a:prstGeom>
            <a:solidFill>
              <a:srgbClr val="0087F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10A1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337" name="Graphic 360">
              <a:extLst>
                <a:ext uri="{FF2B5EF4-FFF2-40B4-BE49-F238E27FC236}">
                  <a16:creationId xmlns:a16="http://schemas.microsoft.com/office/drawing/2014/main" id="{663E36E1-448F-6B21-7D4D-30BDBDB42E0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5"/>
                </a:ext>
              </a:extLst>
            </a:blip>
            <a:stretch>
              <a:fillRect/>
            </a:stretch>
          </p:blipFill>
          <p:spPr>
            <a:xfrm>
              <a:off x="4388165" y="2121256"/>
              <a:ext cx="237353" cy="23735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936118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85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_FfmA5W3igqHAywVI3X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9t09dxF_F0e0clU.Gd.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pThhxK8ajkwweodfsnZ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bmnnICQQ12xk3KBg_Xb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JdxO9KeAFCzTLlJ9SyE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SI2J8Gmf6OL5VSRJIYS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miWPGpB8cLoClaDkY.j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rUEE8LaO34MGPZskbOL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xBMEYGv7wCjQZtNXOOKu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KjT0JB6RSbEoZLMcW5w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QrVQfN_Dl_cljmefUp9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EcRUjCqiH58gkISPNdf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WCIOQVTZisvQPpuDOEY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23lRdBbFfFKBb7i70MS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NeJf_GN03S7vNHmHcCI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WI.8WBqgk1xMIiU4PBc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rvEXw5.CpQT5b9Gz7D1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WQCX_ZOP4F5hWQB4zph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AOSRk3X9mAeSP0KW_kh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3VY3OyE36qAidJg4g6B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a02afEYqilIKDR0CHwV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G_3IobTudMyg3ByxeDr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b3QaqRRQFtmGX0Qrun1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VaVAYxhqlGupcBap0kd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.QBhPbSJwSG4qGTCHmr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q8zzQUZgcST4BHDo.JW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y.1LWLeKgF2YxthErbi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MTHgqRp23g8GqajUT1T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9uNp8ND5B31VXHXUFzQ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JpzaXHVbKT2_L3NrpzZ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uEmk0SSMie5BvTkjLEO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V.r23TSRIhF7rVWPpoa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RnSLUyv1GbAXuAcrGD9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G0poJpd_JeC7zUlPY.E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QncV0rCNiYAJC4Kq4Nq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r9mzaDirdVXhzDtutLd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doMN78n2VUNKmRh6550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1MtXqKX1YE.0ILQgaoD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VFpWAyhytx4NMoXLxv_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BZmy4V2W.JUFQv4cbqS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T2JYSkI2C24nGLxg85w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MPMQxKKabelro239WIk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4L8e8Muu7Acw902onJc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bdMh2jtwx7siuWkYM5V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XXnRYqAzQ.0SkqCLY6k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yqz8DI0RZo.bID6lMAi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1YuhucaBW1JqQKQpMx4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25kPkOz_GkjWQ8hJ7tz.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2XWKpgk0Xn86.qXO4bV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DI9R1ylqIpND7rAtakK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SjMRc61z_k0B.tPCszI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uGy8M3gByr_ndc5GG7U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yYnuBLEqVCzWusMXdBh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WO2kUoWo5Id6RgPG.73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pThhxK8ajkwweodfsnZ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Oix43mkR.6_0Y11NENC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2Kq.nxsEvAuc.1u4EVfO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1Yc6G8H6MnY5oeeP5Yip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SI2J8Gmf6OL5VSRJIYS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JdxO9KeAFCzTLlJ9SyE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bmnnICQQ12xk3KBg_Xb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9t09dxF_F0e0clU.Gd.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VSzXF6.q8602FmLtRx3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ZWg_LvvWCDmmDVJhzA5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rUEE8LaO34MGPZskbOL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xBMEYGv7wCjQZtNXOOKu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REUPp4xj7lzO4JYDbGV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KjT0JB6RSbEoZLMcW5w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QrVQfN_Dl_cljmefUp9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WCIOQVTZisvQPpuDOEY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23lRdBbFfFKBb7i70MS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NeJf_GN03S7vNHmHcCI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rvEXw5.CpQT5b9Gz7D1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WQCX_ZOP4F5hWQB4zph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AOSRk3X9mAeSP0KW_kh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3VY3OyE36qAidJg4g6B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a02afEYqilIKDR0CHwV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eVYmQ3op2FAg9vZOlgP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5KJbZMGsGInqLFveh8e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dVsIY9jT.2eV0WZU4nw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rLuyzCT0TJDFEHbjOZ1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HxaYooQZ_MvU84Mrts9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Rkrcw5ErNf3j9ASW1Lf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REUPp4xj7lzO4JYDbGV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eVYmQ3op2FAg9vZOlgP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nM79sTqHYYWXdT7HShs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h9VK.ZNRsOR50CRM06i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Gt51MHh7Q8r4YDQdqfY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Rkrcw5ErNf3j9ASW1Lf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qfVQbexo6cRAbqqZQYM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VTbzd47bFzUVQwPEzVb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UsxRPvfGIxiQ6RIJnER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qHrdnqr9owacdv361R2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FuNMHplLsT_glh6KgJl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B3x1XodKWMpH.M9SamX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zcnKFJfM0xNfhEqY.zx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Gl3Y8M.JP2o.Wx2oSkd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z1wE3iZrykdzwEUQuDO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85D1aREM9iU4Zl.IW9ib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VTbzd47bFzUVQwPEzVb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ZoxtAu9ws3mWQvA.K.t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YS4u5TMln7Fi65A5vR6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nP2EkUbEX13Iu7crzX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7mRlVWPNREw6zgirzPd5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LaQvaao5JkM8R2rw6rp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uMRgCHRbMm9VDjo3zsV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dwFBlce5g2gTEPsA.X4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S0tbNz3d05Ya96IDmaW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R7wGmQ8RtXSXrDTJCHD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SEr1_FUMJZ0.LigY930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UsxRPvfGIxiQ6RIJnER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RzPigTyerpkKzAUnv_e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9elmK75KHiiWXUMEz3v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4Nkisvmy5782V3VUtM7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XW5W3dDA_pQ..uoLavl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2Gu0WboxPL.fU1ND9Wa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gZAGj49zYynvQnMph6S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y_lWCj7aQkdMnx2uvD_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Boh8pxqRg9zUZTIUm.A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I.2U_K2ka7eHaWxxi_g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qY6VKr0V7s2nTebu6tS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qfVQbexo6cRAbqqZQYM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C8.730CfPR5vjHaZ2.o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g0omY0_VZSTewyGD7Xs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PiUSg8aoUvTQjR9KMIW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xycgEMn_YpWHd0f2Cq1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uGdxvP7AZQjaC8X4GQ3A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07iRX88gN4IPYcbSdGt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8l4E5q9Uw1n96NODi7F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G_3IobTudMyg3ByxeDr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_8hKtV8_6N8gs2rV3IsF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922KxVY7coE4gqvzzYk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bfEXhxYAnXy6TRI._e3e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gu7bWUXEZJSKwe4Ospy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q8zzQUZgcST4BHDo.JW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.QBhPbSJwSG4qGTCHmr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VaVAYxhqlGupcBap0kd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y.1LWLeKgF2YxthErbi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MTHgqRp23g8GqajUT1T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9uNp8ND5B31VXHXUFzQ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uEmk0SSMie5BvTkjLEO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JpzaXHVbKT2_L3NrpzZ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V.r23TSRIhF7rVWPpoa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rSC1MajlGzWSeJnGya0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r9mzaDirdVXhzDtutLd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RnSLUyv1GbAXuAcrGD9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QncV0rCNiYAJC4Kq4Nq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doMN78n2VUNKmRh6550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VFpWAyhytx4NMoXLxv_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1MtXqKX1YE.0ILQgaoD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yqz8DI0RZo.bID6lMAi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bdMh2jtwx7siuWkYM5V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4L8e8Muu7Acw902onJc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Tmu4K1JJZWdRWVnr2mG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gADc7BMpsK9Q4H3fkXng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iBoRpuoSB.7KAs5ePw9t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p_ivNNjzvDY8BvPt7XyR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1YuhucaBW1JqQKQpMx4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25kPkOz_GkjWQ8hJ7tz.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2XWKpgk0Xn86.qXO4bV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SjMRc61z_k0B.tPCszI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uGy8M3gByr_ndc5GG7U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yYnuBLEqVCzWusMXdBh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WO2kUoWo5Id6RgPG.73g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ZWg_LvvWCDmmDVJhzA5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B3x1XodKWMpH.M9SamX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2Kq.nxsEvAuc.1u4EVfO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1Yc6G8H6MnY5oeeP5Yip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SI2J8Gmf6OL5VSRJIYS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JdxO9KeAFCzTLlJ9SyEA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bmnnICQQ12xk3KBg_Xb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9t09dxF_F0e0clU.Gd.Q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pThhxK8ajkwweodfsnZ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VSzXF6.q8602FmLtRx3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DI9R1ylqIpND7rAtakK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miWPGpB8cLoClaDkY.j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FuNMHplLsT_glh6KgJl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rUEE8LaO34MGPZskbOL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xBMEYGv7wCjQZtNXOOKu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KjT0JB6RSbEoZLMcW5wg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QrVQfN_Dl_cljmefUp9A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WCIOQVTZisvQPpuDOEYQ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NeJf_GN03S7vNHmHcCI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A4yO3Yg5H5jF1zlKrH0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rvEXw5.CpQT5b9Gz7D1w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t7OhZ7PcZjX4pz.QwKRw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GevyDCfgyAT8P4FTqSN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qHrdnqr9owacdv361R2Q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4J57.qal99egky9tIYUw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3xYxD4RVtLF.9K706ZKA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G_3IobTudMyg3ByxeDr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_8hKtV8_6N8gs2rV3IsFw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922KxVY7coE4gqvzzYkQ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gu7bWUXEZJSKwe4OspyQ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q8zzQUZgcST4BHDo.JWQ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.QBhPbSJwSG4qGTCHmr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VaVAYxhqlGupcBap0kd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y.1LWLeKgF2YxthErbi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HXz2VmCOWKeWuixs43Lg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MTHgqRp23g8GqajUT1T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9uNp8ND5B31VXHXUFzQA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uEmk0SSMie5BvTkjLEOA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JpzaXHVbKT2_L3NrpzZg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V.r23TSRIhF7rVWPpoag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r9mzaDirdVXhzDtutLdg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RnSLUyv1GbAXuAcrGD9w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QncV0rCNiYAJC4Kq4Nq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doMN78n2VUNKmRh6550g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VFpWAyhytx4NMoXLxv_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v35RY1Mjo2AWIgmFA7ZA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1MtXqKX1YE.0ILQgaoDQ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yqz8DI0RZo.bID6lMAi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bdMh2jtwx7siuWkYM5V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4L8e8Muu7Acw902onJcg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Tmu4K1JJZWdRWVnr2mGw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iBoRpuoSB.7KAs5ePw9tg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p_ivNNjzvDY8BvPt7XyR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1YuhucaBW1JqQKQpMx4w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25kPkOz_GkjWQ8hJ7tz.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2XWKpgk0Xn86.qXO4bV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Rx62mXi3lz6zxKQHrz.A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SjMRc61z_k0B.tPCszI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uGy8M3gByr_ndc5GG7UQ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yYnuBLEqVCzWusMXdBhA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WO2kUoWo5Id6RgPG.73g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ZWg_LvvWCDmmDVJhzA5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2Kq.nxsEvAuc.1u4EVfO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1Yc6G8H6MnY5oeeP5YipA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SI2J8Gmf6OL5VSRJIYS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JdxO9KeAFCzTLlJ9SyE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bmnnICQQ12xk3KBg_Xb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85D1aREM9iU4Zl.IW9ibg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9t09dxF_F0e0clU.Gd.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pThhxK8ajkwweodfsnZw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VSzXF6.q8602FmLtRx3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DI9R1ylqIpND7rAtakKA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miWPGpB8cLoClaDkY.jA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rUEE8LaO34MGPZskbOLA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xBMEYGv7wCjQZtNXOOKuw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KjT0JB6RSbEoZLMcW5w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QrVQfN_Dl_cljmefUp9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WCIOQVTZisvQPpuDOEY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YS4u5TMln7Fi65A5vR6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NeJf_GN03S7vNHmHcCIg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A4yO3Yg5H5jF1zlKrH0A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rvEXw5.CpQT5b9Gz7D1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t7OhZ7PcZjX4pz.QwKR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GevyDCfgyAT8P4FTqSNQ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3xYxD4RVtLF.9K706ZKA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4J57.qal99egky9tIYU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ZoxtAu9ws3mWQvA.K.t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nP2EkUbEX13Iu7crzX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7mRlVWPNREw6zgirzPd5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LaQvaao5JkM8R2rw6rp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uMRgCHRbMm9VDjo3zsV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9elmK75KHiiWXUMEz3v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4Nkisvmy5782V3VUtM7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XW5W3dDA_pQ..uoLavl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gZAGj49zYynvQnMph6S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RzPigTyerpkKzAUnv_e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SEr1_FUMJZ0.LigY930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2Gu0WboxPL.fU1ND9Wa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R7wGmQ8RtXSXrDTJCHD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S0tbNz3d05Ya96IDmaW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dwFBlce5g2gTEPsA.X4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1mEZpgDM_5dDYFVCEvK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3LK8kRRH_Gf49shEQL2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Boh8pxqRg9zUZTIUm.A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qY6VKr0V7s2nTebu6tS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Mcg.L8p1O_AUQkjUJRY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C8.730CfPR5vjHaZ2.o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SwC2yakrSTBsKvGyVbX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PiUSg8aoUvTQjR9KMIW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xycgEMn_YpWHd0f2Cq1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uGdxvP7AZQjaC8X4GQ3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07iRX88gN4IPYcbSdGt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8l4E5q9Uw1n96NODi7F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G_3IobTudMyg3ByxeDr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_8hKtV8_6N8gs2rV3IsF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922KxVY7coE4gqvzzYk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gu7bWUXEZJSKwe4Ospy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q8zzQUZgcST4BHDo.JW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VaVAYxhqlGupcBap0kd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.QBhPbSJwSG4qGTCHmr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y.1LWLeKgF2YxthErbi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MTHgqRp23g8GqajUT1T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9uNp8ND5B31VXHXUFzQ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JpzaXHVbKT2_L3NrpzZ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V.r23TSRIhF7rVWPpoa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uEmk0SSMie5BvTkjLEO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r9mzaDirdVXhzDtutLd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RnSLUyv1GbAXuAcrGD9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QncV0rCNiYAJC4Kq4Nq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doMN78n2VUNKmRh6550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1MtXqKX1YE.0ILQgaoD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VFpWAyhytx4NMoXLxv_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BZmy4V2W.JUFQv4cbqS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MPMQxKKabelro239WIk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T2JYSkI2C24nGLxg85w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4L8e8Muu7Acw902onJc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bdMh2jtwx7siuWkYM5V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yqz8DI0RZo.bID6lMAi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b5_R4_IDwxgVcHquzaC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iAlHoauIOKJ1MXPfzN9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R3F0pGdCcpVKjgB5VSb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1YuhucaBW1JqQKQpMx4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25kPkOz_GkjWQ8hJ7tz.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5KJbZMGsGInqLFveh8e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2XWKpgk0Xn86.qXO4bV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1Yc6G8H6MnY5oeeP5Yip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ZWg_LvvWCDmmDVJhzA5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DI9R1ylqIpND7rAtakK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SjMRc61z_k0B.tPCszI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uGy8M3gByr_ndc5GG7U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yYnuBLEqVCzWusMXdBh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WO2kUoWo5Id6RgPG.73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2Kq.nxsEvAuc.1u4EVfO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VSzXF6.q8602FmLtRx3A"/>
</p:tagLst>
</file>

<file path=ppt/theme/theme1.xml><?xml version="1.0" encoding="utf-8"?>
<a:theme xmlns:a="http://schemas.openxmlformats.org/drawingml/2006/main" name="Syngenta Template">
  <a:themeElements>
    <a:clrScheme name="Syngenta">
      <a:dk1>
        <a:srgbClr val="000000"/>
      </a:dk1>
      <a:lt1>
        <a:srgbClr val="FFFFFF"/>
      </a:lt1>
      <a:dk2>
        <a:srgbClr val="50E600"/>
      </a:dk2>
      <a:lt2>
        <a:srgbClr val="00E6BE"/>
      </a:lt2>
      <a:accent1>
        <a:srgbClr val="FFAA00"/>
      </a:accent1>
      <a:accent2>
        <a:srgbClr val="FF0064"/>
      </a:accent2>
      <a:accent3>
        <a:srgbClr val="A6A6A6"/>
      </a:accent3>
      <a:accent4>
        <a:srgbClr val="BFBFBF"/>
      </a:accent4>
      <a:accent5>
        <a:srgbClr val="D9D9D9"/>
      </a:accent5>
      <a:accent6>
        <a:srgbClr val="F2F2F2"/>
      </a:accent6>
      <a:hlink>
        <a:srgbClr val="FF0064"/>
      </a:hlink>
      <a:folHlink>
        <a:srgbClr val="000000"/>
      </a:folHlink>
    </a:clrScheme>
    <a:fontScheme name="Syngent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rtlCol="0" anchor="ctr"/>
      <a:lstStyle>
        <a:defPPr algn="ctr">
          <a:defRPr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228600" indent="-228600" algn="l">
          <a:spcBef>
            <a:spcPts val="1000"/>
          </a:spcBef>
          <a:buFont typeface="Arial" panose="020B0604020202020204" pitchFamily="34" charset="0"/>
          <a:buChar char="-"/>
          <a:defRPr sz="1400" dirty="0" err="1" smtClean="0"/>
        </a:defPPr>
      </a:lstStyle>
    </a:txDef>
  </a:objectDefaults>
  <a:extraClrSchemeLst/>
  <a:custClrLst>
    <a:custClr name="Dark Blue">
      <a:srgbClr val="245C73"/>
    </a:custClr>
    <a:custClr name="Dark Green">
      <a:srgbClr val="488021"/>
    </a:custClr>
    <a:custClr name="Dark Orange">
      <a:srgbClr val="CD5E41"/>
    </a:custClr>
    <a:custClr name="Dark Red">
      <a:srgbClr val="821B46"/>
    </a:custClr>
  </a:custClrLst>
  <a:extLst>
    <a:ext uri="{05A4C25C-085E-4340-85A3-A5531E510DB2}">
      <thm15:themeFamily xmlns:thm15="http://schemas.microsoft.com/office/thememl/2012/main" name="Syngenta Group Template_EN.potx  -  Read-Only" id="{7C61A57F-BE58-4232-8FF4-5B837B96369A}" vid="{AE0E7B24-7A90-4360-8E89-D6FAB27AB365}"/>
    </a:ext>
  </a:extLst>
</a:theme>
</file>

<file path=ppt/theme/theme2.xml><?xml version="1.0" encoding="utf-8"?>
<a:theme xmlns:a="http://schemas.openxmlformats.org/drawingml/2006/main" name="2_Landscape_Template">
  <a:themeElements>
    <a:clrScheme name="Personalizados 3">
      <a:dk1>
        <a:srgbClr val="00004B"/>
      </a:dk1>
      <a:lt1>
        <a:srgbClr val="010A19"/>
      </a:lt1>
      <a:dk2>
        <a:srgbClr val="E8EDF2"/>
      </a:dk2>
      <a:lt2>
        <a:srgbClr val="73DC78"/>
      </a:lt2>
      <a:accent1>
        <a:srgbClr val="2000F5"/>
      </a:accent1>
      <a:accent2>
        <a:srgbClr val="0087F1"/>
      </a:accent2>
      <a:accent3>
        <a:srgbClr val="ABB6BA"/>
      </a:accent3>
      <a:accent4>
        <a:srgbClr val="8CEF8E"/>
      </a:accent4>
      <a:accent5>
        <a:srgbClr val="0D6132"/>
      </a:accent5>
      <a:accent6>
        <a:srgbClr val="5F7800"/>
      </a:accent6>
      <a:hlink>
        <a:srgbClr val="EB8200"/>
      </a:hlink>
      <a:folHlink>
        <a:srgbClr val="82C8D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Personalizados 3">
    <a:dk1>
      <a:srgbClr val="00004B"/>
    </a:dk1>
    <a:lt1>
      <a:srgbClr val="010A19"/>
    </a:lt1>
    <a:dk2>
      <a:srgbClr val="E8EDF2"/>
    </a:dk2>
    <a:lt2>
      <a:srgbClr val="73DC78"/>
    </a:lt2>
    <a:accent1>
      <a:srgbClr val="2000F5"/>
    </a:accent1>
    <a:accent2>
      <a:srgbClr val="0087F1"/>
    </a:accent2>
    <a:accent3>
      <a:srgbClr val="ABB6BA"/>
    </a:accent3>
    <a:accent4>
      <a:srgbClr val="8CEF8E"/>
    </a:accent4>
    <a:accent5>
      <a:srgbClr val="0D6132"/>
    </a:accent5>
    <a:accent6>
      <a:srgbClr val="5F7800"/>
    </a:accent6>
    <a:hlink>
      <a:srgbClr val="EB8200"/>
    </a:hlink>
    <a:folHlink>
      <a:srgbClr val="82C8DC"/>
    </a:folHlink>
  </a:clrScheme>
  <a:fontScheme name="Office">
    <a:majorFont>
      <a:latin typeface="Arial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Personalizados 3">
    <a:dk1>
      <a:srgbClr val="00004B"/>
    </a:dk1>
    <a:lt1>
      <a:srgbClr val="010A19"/>
    </a:lt1>
    <a:dk2>
      <a:srgbClr val="E8EDF2"/>
    </a:dk2>
    <a:lt2>
      <a:srgbClr val="73DC78"/>
    </a:lt2>
    <a:accent1>
      <a:srgbClr val="2000F5"/>
    </a:accent1>
    <a:accent2>
      <a:srgbClr val="0087F1"/>
    </a:accent2>
    <a:accent3>
      <a:srgbClr val="ABB6BA"/>
    </a:accent3>
    <a:accent4>
      <a:srgbClr val="8CEF8E"/>
    </a:accent4>
    <a:accent5>
      <a:srgbClr val="0D6132"/>
    </a:accent5>
    <a:accent6>
      <a:srgbClr val="5F7800"/>
    </a:accent6>
    <a:hlink>
      <a:srgbClr val="EB8200"/>
    </a:hlink>
    <a:folHlink>
      <a:srgbClr val="82C8DC"/>
    </a:folHlink>
  </a:clrScheme>
  <a:fontScheme name="Office">
    <a:majorFont>
      <a:latin typeface="Arial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Personalizados 3">
    <a:dk1>
      <a:srgbClr val="00004B"/>
    </a:dk1>
    <a:lt1>
      <a:srgbClr val="010A19"/>
    </a:lt1>
    <a:dk2>
      <a:srgbClr val="E8EDF2"/>
    </a:dk2>
    <a:lt2>
      <a:srgbClr val="73DC78"/>
    </a:lt2>
    <a:accent1>
      <a:srgbClr val="2000F5"/>
    </a:accent1>
    <a:accent2>
      <a:srgbClr val="0087F1"/>
    </a:accent2>
    <a:accent3>
      <a:srgbClr val="ABB6BA"/>
    </a:accent3>
    <a:accent4>
      <a:srgbClr val="8CEF8E"/>
    </a:accent4>
    <a:accent5>
      <a:srgbClr val="0D6132"/>
    </a:accent5>
    <a:accent6>
      <a:srgbClr val="5F7800"/>
    </a:accent6>
    <a:hlink>
      <a:srgbClr val="EB8200"/>
    </a:hlink>
    <a:folHlink>
      <a:srgbClr val="82C8DC"/>
    </a:folHlink>
  </a:clrScheme>
  <a:fontScheme name="Office">
    <a:majorFont>
      <a:latin typeface="Arial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Personalizados 3">
    <a:dk1>
      <a:srgbClr val="00004B"/>
    </a:dk1>
    <a:lt1>
      <a:srgbClr val="010A19"/>
    </a:lt1>
    <a:dk2>
      <a:srgbClr val="E8EDF2"/>
    </a:dk2>
    <a:lt2>
      <a:srgbClr val="73DC78"/>
    </a:lt2>
    <a:accent1>
      <a:srgbClr val="2000F5"/>
    </a:accent1>
    <a:accent2>
      <a:srgbClr val="0087F1"/>
    </a:accent2>
    <a:accent3>
      <a:srgbClr val="ABB6BA"/>
    </a:accent3>
    <a:accent4>
      <a:srgbClr val="8CEF8E"/>
    </a:accent4>
    <a:accent5>
      <a:srgbClr val="0D6132"/>
    </a:accent5>
    <a:accent6>
      <a:srgbClr val="5F7800"/>
    </a:accent6>
    <a:hlink>
      <a:srgbClr val="EB8200"/>
    </a:hlink>
    <a:folHlink>
      <a:srgbClr val="82C8DC"/>
    </a:folHlink>
  </a:clrScheme>
  <a:fontScheme name="Office">
    <a:majorFont>
      <a:latin typeface="Arial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Personalizados 3">
    <a:dk1>
      <a:srgbClr val="00004B"/>
    </a:dk1>
    <a:lt1>
      <a:srgbClr val="010A19"/>
    </a:lt1>
    <a:dk2>
      <a:srgbClr val="E8EDF2"/>
    </a:dk2>
    <a:lt2>
      <a:srgbClr val="73DC78"/>
    </a:lt2>
    <a:accent1>
      <a:srgbClr val="2000F5"/>
    </a:accent1>
    <a:accent2>
      <a:srgbClr val="0087F1"/>
    </a:accent2>
    <a:accent3>
      <a:srgbClr val="ABB6BA"/>
    </a:accent3>
    <a:accent4>
      <a:srgbClr val="8CEF8E"/>
    </a:accent4>
    <a:accent5>
      <a:srgbClr val="0D6132"/>
    </a:accent5>
    <a:accent6>
      <a:srgbClr val="5F7800"/>
    </a:accent6>
    <a:hlink>
      <a:srgbClr val="EB8200"/>
    </a:hlink>
    <a:folHlink>
      <a:srgbClr val="82C8DC"/>
    </a:folHlink>
  </a:clrScheme>
  <a:fontScheme name="Office">
    <a:majorFont>
      <a:latin typeface="Arial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Personalizados 3">
    <a:dk1>
      <a:srgbClr val="00004B"/>
    </a:dk1>
    <a:lt1>
      <a:srgbClr val="010A19"/>
    </a:lt1>
    <a:dk2>
      <a:srgbClr val="E8EDF2"/>
    </a:dk2>
    <a:lt2>
      <a:srgbClr val="73DC78"/>
    </a:lt2>
    <a:accent1>
      <a:srgbClr val="2000F5"/>
    </a:accent1>
    <a:accent2>
      <a:srgbClr val="0087F1"/>
    </a:accent2>
    <a:accent3>
      <a:srgbClr val="ABB6BA"/>
    </a:accent3>
    <a:accent4>
      <a:srgbClr val="8CEF8E"/>
    </a:accent4>
    <a:accent5>
      <a:srgbClr val="0D6132"/>
    </a:accent5>
    <a:accent6>
      <a:srgbClr val="5F7800"/>
    </a:accent6>
    <a:hlink>
      <a:srgbClr val="EB8200"/>
    </a:hlink>
    <a:folHlink>
      <a:srgbClr val="82C8DC"/>
    </a:folHlink>
  </a:clrScheme>
  <a:fontScheme name="Office">
    <a:majorFont>
      <a:latin typeface="Arial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FA0EA8AEFD61A43AE29996AC1EBF761" ma:contentTypeVersion="6" ma:contentTypeDescription="Create a new document." ma:contentTypeScope="" ma:versionID="6e77115d98dfce771276883d698be95b">
  <xsd:schema xmlns:xsd="http://www.w3.org/2001/XMLSchema" xmlns:xs="http://www.w3.org/2001/XMLSchema" xmlns:p="http://schemas.microsoft.com/office/2006/metadata/properties" xmlns:ns2="8a3003e5-ba3f-46e4-9300-3cbc1380ca4c" xmlns:ns3="d9809195-6e7a-4328-8f5d-6f907632257e" targetNamespace="http://schemas.microsoft.com/office/2006/metadata/properties" ma:root="true" ma:fieldsID="ab7bb486a4d28ab5e3621f899ce00237" ns2:_="" ns3:_="">
    <xsd:import namespace="8a3003e5-ba3f-46e4-9300-3cbc1380ca4c"/>
    <xsd:import namespace="d9809195-6e7a-4328-8f5d-6f907632257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a3003e5-ba3f-46e4-9300-3cbc1380ca4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9809195-6e7a-4328-8f5d-6f907632257e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35EF6A3-8E37-450D-A1E0-ED01FF3C2575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office/2006/documentManagement/types"/>
    <ds:schemaRef ds:uri="d9809195-6e7a-4328-8f5d-6f907632257e"/>
    <ds:schemaRef ds:uri="8a3003e5-ba3f-46e4-9300-3cbc1380ca4c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54E85BE-3D72-4CEF-92A9-C5102AC499AA}">
  <ds:schemaRefs>
    <ds:schemaRef ds:uri="8a3003e5-ba3f-46e4-9300-3cbc1380ca4c"/>
    <ds:schemaRef ds:uri="d9809195-6e7a-4328-8f5d-6f907632257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1263B778-715E-4CB1-9508-525916228C2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yngenta Group Template_EN</Template>
  <TotalTime>5458</TotalTime>
  <Words>1143</Words>
  <Application>Microsoft Office PowerPoint</Application>
  <PresentationFormat>Широкоэкранный</PresentationFormat>
  <Paragraphs>265</Paragraphs>
  <Slides>13</Slides>
  <Notes>1</Notes>
  <HiddenSlides>0</HiddenSlides>
  <MMClips>1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20" baseType="lpstr">
      <vt:lpstr>Arial</vt:lpstr>
      <vt:lpstr>Calibri</vt:lpstr>
      <vt:lpstr>PT Sans</vt:lpstr>
      <vt:lpstr>Roboto</vt:lpstr>
      <vt:lpstr>Syngenta Template</vt:lpstr>
      <vt:lpstr>2_Landscape_Template</vt:lpstr>
      <vt:lpstr>think-cell Slide</vt:lpstr>
      <vt:lpstr>Презентация PowerPoint</vt:lpstr>
      <vt:lpstr>Программа защиты рыночных рисков «ЗоРРО®» предлагает своим участникам простое решение для защиты инвестиций в продукты компании «Сингента» в течении всего полевого сезона.  </vt:lpstr>
      <vt:lpstr>Презентация PowerPoint</vt:lpstr>
      <vt:lpstr>Реальный пример работы программы в 2023 году Индекс кукуруза, выплата – 21 805 560,46 рублей!</vt:lpstr>
      <vt:lpstr>Реальный пример работы программы в 2023 году,  Индекс пшеница, выплата – 10 714 305,53 рублей!</vt:lpstr>
      <vt:lpstr>Условия программы в 2024 году  </vt:lpstr>
      <vt:lpstr>Документы, необходимые для участия</vt:lpstr>
      <vt:lpstr> Цифровая платформа</vt:lpstr>
      <vt:lpstr>Статистика индексов кукуруза: 62% и 77% вероятность получения выплаты по вариантам Весна и Осень  (2011 - 2023 годы)</vt:lpstr>
      <vt:lpstr>Статистика индекса кукуруза: 69% вероятность получения выплаты по варианту ЗоРРО Классический (2011 - 2023 годы) </vt:lpstr>
      <vt:lpstr>Статистика индексов пшеница: 54% и 69% вероятность получения выплаты по вариантам Весна и Осень  (2011 - 2023 годы) </vt:lpstr>
      <vt:lpstr>Статистика индекса пшеница: 69% вероятность получения выплаты по варианту ЗоРРО Классический (2011 - 2023 годы)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verte Carbon</dc:title>
  <dc:creator>Giraudet Philippe CHBS</dc:creator>
  <cp:lastModifiedBy>Maligin Vasiliy RUMO</cp:lastModifiedBy>
  <cp:revision>57</cp:revision>
  <cp:lastPrinted>2022-10-26T09:15:06Z</cp:lastPrinted>
  <dcterms:created xsi:type="dcterms:W3CDTF">2021-02-01T07:36:58Z</dcterms:created>
  <dcterms:modified xsi:type="dcterms:W3CDTF">2023-12-13T06:48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FA0EA8AEFD61A43AE29996AC1EBF761</vt:lpwstr>
  </property>
</Properties>
</file>